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82" r:id="rId4"/>
    <p:sldMasterId id="2147483708" r:id="rId5"/>
    <p:sldMasterId id="2147483729" r:id="rId6"/>
  </p:sldMasterIdLst>
  <p:notesMasterIdLst>
    <p:notesMasterId r:id="rId21"/>
  </p:notesMasterIdLst>
  <p:sldIdLst>
    <p:sldId id="256" r:id="rId7"/>
    <p:sldId id="262" r:id="rId8"/>
    <p:sldId id="269" r:id="rId9"/>
    <p:sldId id="361" r:id="rId10"/>
    <p:sldId id="258" r:id="rId11"/>
    <p:sldId id="268" r:id="rId12"/>
    <p:sldId id="270" r:id="rId13"/>
    <p:sldId id="291" r:id="rId14"/>
    <p:sldId id="280" r:id="rId15"/>
    <p:sldId id="281" r:id="rId16"/>
    <p:sldId id="2265" r:id="rId17"/>
    <p:sldId id="2415" r:id="rId18"/>
    <p:sldId id="2416" r:id="rId19"/>
    <p:sldId id="273" r:id="rId20"/>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3776"/>
    <a:srgbClr val="EE7203"/>
    <a:srgbClr val="FFD001"/>
    <a:srgbClr val="009444"/>
    <a:srgbClr val="A2C888"/>
    <a:srgbClr val="A3CA89"/>
    <a:srgbClr val="A5CC8B"/>
    <a:srgbClr val="74A5CD"/>
    <a:srgbClr val="ADB8B3"/>
    <a:srgbClr val="6D84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79" autoAdjust="0"/>
    <p:restoredTop sz="88098" autoAdjust="0"/>
  </p:normalViewPr>
  <p:slideViewPr>
    <p:cSldViewPr snapToGrid="0">
      <p:cViewPr varScale="1">
        <p:scale>
          <a:sx n="60" d="100"/>
          <a:sy n="60" d="100"/>
        </p:scale>
        <p:origin x="796" y="2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t>Totalt antall sidevisninger på alle nettsteder på FNSP</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3"/>
          <c:order val="3"/>
          <c:tx>
            <c:strRef>
              <c:f>'Ark1'!$E$1</c:f>
              <c:strCache>
                <c:ptCount val="1"/>
                <c:pt idx="0">
                  <c:v>2022</c:v>
                </c:pt>
              </c:strCache>
            </c:strRef>
          </c:tx>
          <c:spPr>
            <a:solidFill>
              <a:schemeClr val="accent4"/>
            </a:solidFill>
            <a:ln>
              <a:noFill/>
            </a:ln>
            <a:effectLst/>
          </c:spPr>
          <c:invertIfNegative val="0"/>
          <c:cat>
            <c:strRef>
              <c:f>'Ark1'!$A$2:$A$13</c:f>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f>'Ark1'!$E$2:$E$13</c:f>
              <c:numCache>
                <c:formatCode>#,##0</c:formatCode>
                <c:ptCount val="12"/>
                <c:pt idx="0">
                  <c:v>5100000</c:v>
                </c:pt>
                <c:pt idx="1">
                  <c:v>4400000</c:v>
                </c:pt>
                <c:pt idx="2">
                  <c:v>4550000</c:v>
                </c:pt>
                <c:pt idx="3">
                  <c:v>3629000</c:v>
                </c:pt>
                <c:pt idx="4">
                  <c:v>4058000</c:v>
                </c:pt>
                <c:pt idx="5">
                  <c:v>4000000</c:v>
                </c:pt>
                <c:pt idx="6">
                  <c:v>3076000</c:v>
                </c:pt>
                <c:pt idx="7">
                  <c:v>4391000</c:v>
                </c:pt>
                <c:pt idx="8">
                  <c:v>4789000</c:v>
                </c:pt>
                <c:pt idx="9">
                  <c:v>4605000</c:v>
                </c:pt>
                <c:pt idx="10">
                  <c:v>4695000</c:v>
                </c:pt>
                <c:pt idx="11">
                  <c:v>4049000</c:v>
                </c:pt>
              </c:numCache>
            </c:numRef>
          </c:val>
          <c:extLst>
            <c:ext xmlns:c16="http://schemas.microsoft.com/office/drawing/2014/chart" uri="{C3380CC4-5D6E-409C-BE32-E72D297353CC}">
              <c16:uniqueId val="{00000002-03CA-4B6C-9186-D4BD35EBE983}"/>
            </c:ext>
          </c:extLst>
        </c:ser>
        <c:ser>
          <c:idx val="4"/>
          <c:order val="4"/>
          <c:tx>
            <c:strRef>
              <c:f>'Ark1'!$F$1</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3</c:f>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f>'Ark1'!$F$2:$F$13</c:f>
              <c:numCache>
                <c:formatCode>General</c:formatCode>
                <c:ptCount val="12"/>
                <c:pt idx="0">
                  <c:v>5342155</c:v>
                </c:pt>
                <c:pt idx="1">
                  <c:v>4975473</c:v>
                </c:pt>
                <c:pt idx="2">
                  <c:v>4394655</c:v>
                </c:pt>
                <c:pt idx="3">
                  <c:v>4953516</c:v>
                </c:pt>
                <c:pt idx="4">
                  <c:v>4389842</c:v>
                </c:pt>
                <c:pt idx="5">
                  <c:v>4313820</c:v>
                </c:pt>
                <c:pt idx="6">
                  <c:v>3233765</c:v>
                </c:pt>
                <c:pt idx="7">
                  <c:v>3934597</c:v>
                </c:pt>
                <c:pt idx="8">
                  <c:v>4696923</c:v>
                </c:pt>
              </c:numCache>
            </c:numRef>
          </c:val>
          <c:extLst>
            <c:ext xmlns:c16="http://schemas.microsoft.com/office/drawing/2014/chart" uri="{C3380CC4-5D6E-409C-BE32-E72D297353CC}">
              <c16:uniqueId val="{00000000-52D9-49D8-B829-66E639FAABF7}"/>
            </c:ext>
          </c:extLst>
        </c:ser>
        <c:dLbls>
          <c:showLegendKey val="0"/>
          <c:showVal val="0"/>
          <c:showCatName val="0"/>
          <c:showSerName val="0"/>
          <c:showPercent val="0"/>
          <c:showBubbleSize val="0"/>
        </c:dLbls>
        <c:gapWidth val="219"/>
        <c:overlap val="-27"/>
        <c:axId val="177988304"/>
        <c:axId val="177987472"/>
        <c:extLst>
          <c:ext xmlns:c15="http://schemas.microsoft.com/office/drawing/2012/chart" uri="{02D57815-91ED-43cb-92C2-25804820EDAC}">
            <c15:filteredBarSeries>
              <c15:ser>
                <c:idx val="0"/>
                <c:order val="0"/>
                <c:tx>
                  <c:strRef>
                    <c:extLst>
                      <c:ext uri="{02D57815-91ED-43cb-92C2-25804820EDAC}">
                        <c15:formulaRef>
                          <c15:sqref>'Ark1'!$B$1</c15:sqref>
                        </c15:formulaRef>
                      </c:ext>
                    </c:extLst>
                    <c:strCache>
                      <c:ptCount val="1"/>
                      <c:pt idx="0">
                        <c:v>2019</c:v>
                      </c:pt>
                    </c:strCache>
                  </c:strRef>
                </c:tx>
                <c:spPr>
                  <a:solidFill>
                    <a:schemeClr val="accent1"/>
                  </a:solidFill>
                  <a:ln>
                    <a:noFill/>
                  </a:ln>
                  <a:effectLst/>
                </c:spPr>
                <c:invertIfNegative val="0"/>
                <c:cat>
                  <c:strRef>
                    <c:extLst>
                      <c:ext uri="{02D57815-91ED-43cb-92C2-25804820EDAC}">
                        <c15:formulaRef>
                          <c15:sqref>'Ark1'!$A$2:$A$13</c15:sqref>
                        </c15:formulaRef>
                      </c:ext>
                    </c:extLst>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extLst>
                      <c:ext uri="{02D57815-91ED-43cb-92C2-25804820EDAC}">
                        <c15:formulaRef>
                          <c15:sqref>'Ark1'!$B$2:$B$13</c15:sqref>
                        </c15:formulaRef>
                      </c:ext>
                    </c:extLst>
                    <c:numCache>
                      <c:formatCode>General</c:formatCode>
                      <c:ptCount val="12"/>
                      <c:pt idx="0">
                        <c:v>3600000</c:v>
                      </c:pt>
                      <c:pt idx="1">
                        <c:v>3000000</c:v>
                      </c:pt>
                      <c:pt idx="2">
                        <c:v>3400000</c:v>
                      </c:pt>
                      <c:pt idx="3">
                        <c:v>2800000</c:v>
                      </c:pt>
                      <c:pt idx="4">
                        <c:v>3200000</c:v>
                      </c:pt>
                      <c:pt idx="5">
                        <c:v>3000000</c:v>
                      </c:pt>
                      <c:pt idx="6">
                        <c:v>2300000</c:v>
                      </c:pt>
                      <c:pt idx="7">
                        <c:v>3000000</c:v>
                      </c:pt>
                      <c:pt idx="8">
                        <c:v>3500000</c:v>
                      </c:pt>
                      <c:pt idx="9">
                        <c:v>3800000</c:v>
                      </c:pt>
                      <c:pt idx="10">
                        <c:v>3500000</c:v>
                      </c:pt>
                      <c:pt idx="11">
                        <c:v>2800000</c:v>
                      </c:pt>
                    </c:numCache>
                  </c:numRef>
                </c:val>
                <c:extLst>
                  <c:ext xmlns:c16="http://schemas.microsoft.com/office/drawing/2014/chart" uri="{C3380CC4-5D6E-409C-BE32-E72D297353CC}">
                    <c16:uniqueId val="{00000003-03CA-4B6C-9186-D4BD35EBE983}"/>
                  </c:ext>
                </c:extLst>
              </c15:ser>
            </c15:filteredBarSeries>
            <c15:filteredBarSeries>
              <c15:ser>
                <c:idx val="1"/>
                <c:order val="1"/>
                <c:tx>
                  <c:strRef>
                    <c:extLst>
                      <c:ext xmlns:c15="http://schemas.microsoft.com/office/drawing/2012/chart" uri="{02D57815-91ED-43cb-92C2-25804820EDAC}">
                        <c15:formulaRef>
                          <c15:sqref>'Ark1'!$C$1</c15:sqref>
                        </c15:formulaRef>
                      </c:ext>
                    </c:extLst>
                    <c:strCache>
                      <c:ptCount val="1"/>
                      <c:pt idx="0">
                        <c:v>2020</c:v>
                      </c:pt>
                    </c:strCache>
                  </c:strRef>
                </c:tx>
                <c:spPr>
                  <a:solidFill>
                    <a:schemeClr val="accent2"/>
                  </a:solidFill>
                  <a:ln>
                    <a:noFill/>
                  </a:ln>
                  <a:effectLst/>
                </c:spPr>
                <c:invertIfNegative val="0"/>
                <c:cat>
                  <c:strRef>
                    <c:extLst>
                      <c:ext xmlns:c15="http://schemas.microsoft.com/office/drawing/2012/chart" uri="{02D57815-91ED-43cb-92C2-25804820EDAC}">
                        <c15:formulaRef>
                          <c15:sqref>'Ark1'!$A$2:$A$13</c15:sqref>
                        </c15:formulaRef>
                      </c:ext>
                    </c:extLst>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extLst>
                      <c:ext xmlns:c15="http://schemas.microsoft.com/office/drawing/2012/chart" uri="{02D57815-91ED-43cb-92C2-25804820EDAC}">
                        <c15:formulaRef>
                          <c15:sqref>'Ark1'!$C$2:$C$13</c15:sqref>
                        </c15:formulaRef>
                      </c:ext>
                    </c:extLst>
                    <c:numCache>
                      <c:formatCode>General</c:formatCode>
                      <c:ptCount val="12"/>
                      <c:pt idx="0">
                        <c:v>4000000</c:v>
                      </c:pt>
                      <c:pt idx="1">
                        <c:v>3600000</c:v>
                      </c:pt>
                      <c:pt idx="2">
                        <c:v>7200000</c:v>
                      </c:pt>
                      <c:pt idx="3">
                        <c:v>4300000</c:v>
                      </c:pt>
                      <c:pt idx="4">
                        <c:v>4000000</c:v>
                      </c:pt>
                      <c:pt idx="5">
                        <c:v>3800000</c:v>
                      </c:pt>
                      <c:pt idx="6">
                        <c:v>3000000</c:v>
                      </c:pt>
                      <c:pt idx="7">
                        <c:v>4000000</c:v>
                      </c:pt>
                      <c:pt idx="8">
                        <c:v>4500000</c:v>
                      </c:pt>
                      <c:pt idx="9">
                        <c:v>4500000</c:v>
                      </c:pt>
                      <c:pt idx="10">
                        <c:v>4800000</c:v>
                      </c:pt>
                      <c:pt idx="11">
                        <c:v>3900000</c:v>
                      </c:pt>
                    </c:numCache>
                  </c:numRef>
                </c:val>
                <c:extLst>
                  <c:ext xmlns:c16="http://schemas.microsoft.com/office/drawing/2014/chart" uri="{C3380CC4-5D6E-409C-BE32-E72D297353CC}">
                    <c16:uniqueId val="{00000000-03CA-4B6C-9186-D4BD35EBE983}"/>
                  </c:ext>
                </c:extLst>
              </c15:ser>
            </c15:filteredBarSeries>
            <c15:filteredBarSeries>
              <c15:ser>
                <c:idx val="2"/>
                <c:order val="2"/>
                <c:tx>
                  <c:strRef>
                    <c:extLst>
                      <c:ext xmlns:c15="http://schemas.microsoft.com/office/drawing/2012/chart" uri="{02D57815-91ED-43cb-92C2-25804820EDAC}">
                        <c15:formulaRef>
                          <c15:sqref>'Ark1'!$D$1</c15:sqref>
                        </c15:formulaRef>
                      </c:ext>
                    </c:extLst>
                    <c:strCache>
                      <c:ptCount val="1"/>
                      <c:pt idx="0">
                        <c:v>2021</c:v>
                      </c:pt>
                    </c:strCache>
                  </c:strRef>
                </c:tx>
                <c:spPr>
                  <a:solidFill>
                    <a:schemeClr val="accent3"/>
                  </a:solidFill>
                  <a:ln>
                    <a:noFill/>
                  </a:ln>
                  <a:effectLst/>
                </c:spPr>
                <c:invertIfNegative val="0"/>
                <c:cat>
                  <c:strRef>
                    <c:extLst>
                      <c:ext xmlns:c15="http://schemas.microsoft.com/office/drawing/2012/chart" uri="{02D57815-91ED-43cb-92C2-25804820EDAC}">
                        <c15:formulaRef>
                          <c15:sqref>'Ark1'!$A$2:$A$13</c15:sqref>
                        </c15:formulaRef>
                      </c:ext>
                    </c:extLst>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extLst>
                      <c:ext xmlns:c15="http://schemas.microsoft.com/office/drawing/2012/chart" uri="{02D57815-91ED-43cb-92C2-25804820EDAC}">
                        <c15:formulaRef>
                          <c15:sqref>'Ark1'!$D$2:$D$13</c15:sqref>
                        </c15:formulaRef>
                      </c:ext>
                    </c:extLst>
                    <c:numCache>
                      <c:formatCode>General</c:formatCode>
                      <c:ptCount val="12"/>
                      <c:pt idx="0">
                        <c:v>5084000</c:v>
                      </c:pt>
                      <c:pt idx="1">
                        <c:v>4520000</c:v>
                      </c:pt>
                      <c:pt idx="2">
                        <c:v>5103000</c:v>
                      </c:pt>
                      <c:pt idx="3">
                        <c:v>4377033</c:v>
                      </c:pt>
                      <c:pt idx="4">
                        <c:v>4142000</c:v>
                      </c:pt>
                      <c:pt idx="5">
                        <c:v>4170000</c:v>
                      </c:pt>
                      <c:pt idx="6">
                        <c:v>2930000</c:v>
                      </c:pt>
                      <c:pt idx="7">
                        <c:v>4080000</c:v>
                      </c:pt>
                      <c:pt idx="8">
                        <c:v>4635000</c:v>
                      </c:pt>
                      <c:pt idx="9">
                        <c:v>4343000</c:v>
                      </c:pt>
                      <c:pt idx="10">
                        <c:v>4764000</c:v>
                      </c:pt>
                      <c:pt idx="11">
                        <c:v>4155000</c:v>
                      </c:pt>
                    </c:numCache>
                  </c:numRef>
                </c:val>
                <c:extLst>
                  <c:ext xmlns:c16="http://schemas.microsoft.com/office/drawing/2014/chart" uri="{C3380CC4-5D6E-409C-BE32-E72D297353CC}">
                    <c16:uniqueId val="{00000001-03CA-4B6C-9186-D4BD35EBE983}"/>
                  </c:ext>
                </c:extLst>
              </c15:ser>
            </c15:filteredBarSeries>
          </c:ext>
        </c:extLst>
      </c:barChart>
      <c:catAx>
        <c:axId val="177988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77987472"/>
        <c:crosses val="autoZero"/>
        <c:auto val="1"/>
        <c:lblAlgn val="ctr"/>
        <c:lblOffset val="100"/>
        <c:noMultiLvlLbl val="0"/>
      </c:catAx>
      <c:valAx>
        <c:axId val="1779874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779883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dirty="0"/>
              <a:t>Antall</a:t>
            </a:r>
            <a:r>
              <a:rPr lang="nb-NO" baseline="0" dirty="0"/>
              <a:t> sidevisninger «behandlingstekster» (før, under og etter behandling)</a:t>
            </a:r>
            <a:endParaRPr lang="nb-NO"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Ark1'!$B$1</c:f>
              <c:strCache>
                <c:ptCount val="1"/>
                <c:pt idx="0">
                  <c:v>2019</c:v>
                </c:pt>
              </c:strCache>
            </c:strRef>
          </c:tx>
          <c:spPr>
            <a:solidFill>
              <a:schemeClr val="accent1"/>
            </a:solidFill>
            <a:ln>
              <a:noFill/>
            </a:ln>
            <a:effectLst/>
          </c:spPr>
          <c:invertIfNegative val="0"/>
          <c:cat>
            <c:strRef>
              <c:f>'Ark1'!$A$2:$A$13</c:f>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f>'Ark1'!$B$2:$B$13</c:f>
              <c:numCache>
                <c:formatCode>General</c:formatCode>
                <c:ptCount val="12"/>
                <c:pt idx="0">
                  <c:v>334000</c:v>
                </c:pt>
                <c:pt idx="1">
                  <c:v>290000</c:v>
                </c:pt>
                <c:pt idx="2">
                  <c:v>341000</c:v>
                </c:pt>
                <c:pt idx="3">
                  <c:v>301000</c:v>
                </c:pt>
                <c:pt idx="4">
                  <c:v>339000</c:v>
                </c:pt>
                <c:pt idx="5">
                  <c:v>326000</c:v>
                </c:pt>
                <c:pt idx="6">
                  <c:v>282000</c:v>
                </c:pt>
                <c:pt idx="7">
                  <c:v>353000</c:v>
                </c:pt>
                <c:pt idx="8">
                  <c:v>394000</c:v>
                </c:pt>
                <c:pt idx="9">
                  <c:v>412000</c:v>
                </c:pt>
                <c:pt idx="10">
                  <c:v>387000</c:v>
                </c:pt>
                <c:pt idx="11">
                  <c:v>322000</c:v>
                </c:pt>
              </c:numCache>
            </c:numRef>
          </c:val>
          <c:extLst>
            <c:ext xmlns:c16="http://schemas.microsoft.com/office/drawing/2014/chart" uri="{C3380CC4-5D6E-409C-BE32-E72D297353CC}">
              <c16:uniqueId val="{00000000-010C-42CF-93BA-FF9276FACF80}"/>
            </c:ext>
          </c:extLst>
        </c:ser>
        <c:ser>
          <c:idx val="2"/>
          <c:order val="2"/>
          <c:tx>
            <c:strRef>
              <c:f>'Ark1'!$D$1</c:f>
              <c:strCache>
                <c:ptCount val="1"/>
                <c:pt idx="0">
                  <c:v>2021</c:v>
                </c:pt>
              </c:strCache>
            </c:strRef>
          </c:tx>
          <c:spPr>
            <a:solidFill>
              <a:schemeClr val="accent5"/>
            </a:solidFill>
            <a:ln>
              <a:noFill/>
            </a:ln>
            <a:effectLst/>
          </c:spPr>
          <c:invertIfNegative val="0"/>
          <c:cat>
            <c:strRef>
              <c:f>'Ark1'!$A$2:$A$13</c:f>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f>'Ark1'!$D$2:$D$13</c:f>
              <c:numCache>
                <c:formatCode>General</c:formatCode>
                <c:ptCount val="12"/>
                <c:pt idx="0">
                  <c:v>616000</c:v>
                </c:pt>
                <c:pt idx="1">
                  <c:v>580000</c:v>
                </c:pt>
                <c:pt idx="2">
                  <c:v>638000</c:v>
                </c:pt>
                <c:pt idx="3">
                  <c:v>543500</c:v>
                </c:pt>
                <c:pt idx="4">
                  <c:v>575000</c:v>
                </c:pt>
                <c:pt idx="5">
                  <c:v>495000</c:v>
                </c:pt>
                <c:pt idx="6">
                  <c:v>396000</c:v>
                </c:pt>
                <c:pt idx="7">
                  <c:v>553000</c:v>
                </c:pt>
                <c:pt idx="8">
                  <c:v>623000</c:v>
                </c:pt>
                <c:pt idx="9">
                  <c:v>625000</c:v>
                </c:pt>
                <c:pt idx="10">
                  <c:v>624000</c:v>
                </c:pt>
                <c:pt idx="11">
                  <c:v>449500</c:v>
                </c:pt>
              </c:numCache>
            </c:numRef>
          </c:val>
          <c:extLst>
            <c:ext xmlns:c16="http://schemas.microsoft.com/office/drawing/2014/chart" uri="{C3380CC4-5D6E-409C-BE32-E72D297353CC}">
              <c16:uniqueId val="{00000002-010C-42CF-93BA-FF9276FACF80}"/>
            </c:ext>
          </c:extLst>
        </c:ser>
        <c:ser>
          <c:idx val="4"/>
          <c:order val="4"/>
          <c:tx>
            <c:strRef>
              <c:f>'Ark1'!$F$1</c:f>
              <c:strCache>
                <c:ptCount val="1"/>
                <c:pt idx="0">
                  <c:v>2024</c:v>
                </c:pt>
              </c:strCache>
            </c:strRef>
          </c:tx>
          <c:spPr>
            <a:solidFill>
              <a:schemeClr val="accent3">
                <a:lumMod val="60000"/>
              </a:schemeClr>
            </a:solidFill>
            <a:ln>
              <a:noFill/>
            </a:ln>
            <a:effectLst/>
          </c:spPr>
          <c:invertIfNegative val="0"/>
          <c:cat>
            <c:strRef>
              <c:f>'Ark1'!$A$2:$A$13</c:f>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f>'Ark1'!$F$2:$F$13</c:f>
              <c:numCache>
                <c:formatCode>#,##0</c:formatCode>
                <c:ptCount val="12"/>
                <c:pt idx="0">
                  <c:v>742931</c:v>
                </c:pt>
                <c:pt idx="1">
                  <c:v>716515</c:v>
                </c:pt>
                <c:pt idx="2">
                  <c:v>679936</c:v>
                </c:pt>
                <c:pt idx="3">
                  <c:v>746628</c:v>
                </c:pt>
                <c:pt idx="4" formatCode="General">
                  <c:v>628663</c:v>
                </c:pt>
                <c:pt idx="5" formatCode="General">
                  <c:v>609983</c:v>
                </c:pt>
                <c:pt idx="6" formatCode="General">
                  <c:v>510524</c:v>
                </c:pt>
                <c:pt idx="7" formatCode="General">
                  <c:v>597355</c:v>
                </c:pt>
                <c:pt idx="8" formatCode="General">
                  <c:v>714139</c:v>
                </c:pt>
              </c:numCache>
            </c:numRef>
          </c:val>
          <c:extLst>
            <c:ext xmlns:c16="http://schemas.microsoft.com/office/drawing/2014/chart" uri="{C3380CC4-5D6E-409C-BE32-E72D297353CC}">
              <c16:uniqueId val="{00000000-6C8C-454C-A62E-610002CF775A}"/>
            </c:ext>
          </c:extLst>
        </c:ser>
        <c:dLbls>
          <c:showLegendKey val="0"/>
          <c:showVal val="0"/>
          <c:showCatName val="0"/>
          <c:showSerName val="0"/>
          <c:showPercent val="0"/>
          <c:showBubbleSize val="0"/>
        </c:dLbls>
        <c:gapWidth val="219"/>
        <c:overlap val="-27"/>
        <c:axId val="1322523472"/>
        <c:axId val="1322523888"/>
        <c:extLst>
          <c:ext xmlns:c15="http://schemas.microsoft.com/office/drawing/2012/chart" uri="{02D57815-91ED-43cb-92C2-25804820EDAC}">
            <c15:filteredBarSeries>
              <c15:ser>
                <c:idx val="1"/>
                <c:order val="1"/>
                <c:tx>
                  <c:strRef>
                    <c:extLst>
                      <c:ext uri="{02D57815-91ED-43cb-92C2-25804820EDAC}">
                        <c15:formulaRef>
                          <c15:sqref>'Ark1'!$C$1</c15:sqref>
                        </c15:formulaRef>
                      </c:ext>
                    </c:extLst>
                    <c:strCache>
                      <c:ptCount val="1"/>
                      <c:pt idx="0">
                        <c:v>2020</c:v>
                      </c:pt>
                    </c:strCache>
                  </c:strRef>
                </c:tx>
                <c:spPr>
                  <a:solidFill>
                    <a:schemeClr val="accent3"/>
                  </a:solidFill>
                  <a:ln>
                    <a:noFill/>
                  </a:ln>
                  <a:effectLst/>
                </c:spPr>
                <c:invertIfNegative val="0"/>
                <c:cat>
                  <c:strRef>
                    <c:extLst>
                      <c:ext uri="{02D57815-91ED-43cb-92C2-25804820EDAC}">
                        <c15:formulaRef>
                          <c15:sqref>'Ark1'!$A$2:$A$13</c15:sqref>
                        </c15:formulaRef>
                      </c:ext>
                    </c:extLst>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extLst>
                      <c:ext uri="{02D57815-91ED-43cb-92C2-25804820EDAC}">
                        <c15:formulaRef>
                          <c15:sqref>'Ark1'!$C$2:$C$13</c15:sqref>
                        </c15:formulaRef>
                      </c:ext>
                    </c:extLst>
                    <c:numCache>
                      <c:formatCode>General</c:formatCode>
                      <c:ptCount val="12"/>
                      <c:pt idx="0">
                        <c:v>465000</c:v>
                      </c:pt>
                      <c:pt idx="1">
                        <c:v>413000</c:v>
                      </c:pt>
                      <c:pt idx="2">
                        <c:v>368000</c:v>
                      </c:pt>
                      <c:pt idx="3">
                        <c:v>345000</c:v>
                      </c:pt>
                      <c:pt idx="4">
                        <c:v>401000</c:v>
                      </c:pt>
                      <c:pt idx="5">
                        <c:v>393000</c:v>
                      </c:pt>
                      <c:pt idx="6">
                        <c:v>346000</c:v>
                      </c:pt>
                      <c:pt idx="7">
                        <c:v>415000</c:v>
                      </c:pt>
                      <c:pt idx="8">
                        <c:v>484000</c:v>
                      </c:pt>
                      <c:pt idx="9">
                        <c:v>524000</c:v>
                      </c:pt>
                      <c:pt idx="10">
                        <c:v>520000</c:v>
                      </c:pt>
                      <c:pt idx="11">
                        <c:v>456000</c:v>
                      </c:pt>
                    </c:numCache>
                  </c:numRef>
                </c:val>
                <c:extLst>
                  <c:ext xmlns:c16="http://schemas.microsoft.com/office/drawing/2014/chart" uri="{C3380CC4-5D6E-409C-BE32-E72D297353CC}">
                    <c16:uniqueId val="{00000001-010C-42CF-93BA-FF9276FACF80}"/>
                  </c:ext>
                </c:extLst>
              </c15:ser>
            </c15:filteredBarSeries>
            <c15:filteredBarSeries>
              <c15:ser>
                <c:idx val="3"/>
                <c:order val="3"/>
                <c:tx>
                  <c:strRef>
                    <c:extLst>
                      <c:ext xmlns:c15="http://schemas.microsoft.com/office/drawing/2012/chart" uri="{02D57815-91ED-43cb-92C2-25804820EDAC}">
                        <c15:formulaRef>
                          <c15:sqref>'Ark1'!$E$1</c15:sqref>
                        </c15:formulaRef>
                      </c:ext>
                    </c:extLst>
                    <c:strCache>
                      <c:ptCount val="1"/>
                      <c:pt idx="0">
                        <c:v>2022</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xmlns:c15="http://schemas.microsoft.com/office/drawing/2012/chart" uri="{02D57815-91ED-43cb-92C2-25804820EDAC}">
                        <c15:formulaRef>
                          <c15:sqref>'Ark1'!$A$2:$A$13</c15:sqref>
                        </c15:formulaRef>
                      </c:ext>
                    </c:extLst>
                    <c:strCache>
                      <c:ptCount val="12"/>
                      <c:pt idx="0">
                        <c:v>Januar</c:v>
                      </c:pt>
                      <c:pt idx="1">
                        <c:v>Februar</c:v>
                      </c:pt>
                      <c:pt idx="2">
                        <c:v>Mars</c:v>
                      </c:pt>
                      <c:pt idx="3">
                        <c:v>April</c:v>
                      </c:pt>
                      <c:pt idx="4">
                        <c:v>Mai</c:v>
                      </c:pt>
                      <c:pt idx="5">
                        <c:v>Juni</c:v>
                      </c:pt>
                      <c:pt idx="6">
                        <c:v>Juli</c:v>
                      </c:pt>
                      <c:pt idx="7">
                        <c:v>August</c:v>
                      </c:pt>
                      <c:pt idx="8">
                        <c:v>September</c:v>
                      </c:pt>
                      <c:pt idx="9">
                        <c:v>Oktober</c:v>
                      </c:pt>
                      <c:pt idx="10">
                        <c:v>November</c:v>
                      </c:pt>
                      <c:pt idx="11">
                        <c:v>Desember</c:v>
                      </c:pt>
                    </c:strCache>
                  </c:strRef>
                </c:cat>
                <c:val>
                  <c:numRef>
                    <c:extLst>
                      <c:ext xmlns:c15="http://schemas.microsoft.com/office/drawing/2012/chart" uri="{02D57815-91ED-43cb-92C2-25804820EDAC}">
                        <c15:formulaRef>
                          <c15:sqref>'Ark1'!$E$2:$E$13</c15:sqref>
                        </c15:formulaRef>
                      </c:ext>
                    </c:extLst>
                    <c:numCache>
                      <c:formatCode>General</c:formatCode>
                      <c:ptCount val="12"/>
                      <c:pt idx="0">
                        <c:v>700000</c:v>
                      </c:pt>
                      <c:pt idx="1">
                        <c:v>600000</c:v>
                      </c:pt>
                      <c:pt idx="2">
                        <c:v>665000</c:v>
                      </c:pt>
                      <c:pt idx="3">
                        <c:v>656000</c:v>
                      </c:pt>
                      <c:pt idx="4">
                        <c:v>573000</c:v>
                      </c:pt>
                      <c:pt idx="5">
                        <c:v>615945</c:v>
                      </c:pt>
                      <c:pt idx="6">
                        <c:v>404575</c:v>
                      </c:pt>
                      <c:pt idx="7">
                        <c:v>583290</c:v>
                      </c:pt>
                      <c:pt idx="8">
                        <c:v>653334</c:v>
                      </c:pt>
                      <c:pt idx="9">
                        <c:v>710069</c:v>
                      </c:pt>
                      <c:pt idx="10">
                        <c:v>712315</c:v>
                      </c:pt>
                      <c:pt idx="11">
                        <c:v>544936</c:v>
                      </c:pt>
                    </c:numCache>
                  </c:numRef>
                </c:val>
                <c:extLst>
                  <c:ext xmlns:c16="http://schemas.microsoft.com/office/drawing/2014/chart" uri="{C3380CC4-5D6E-409C-BE32-E72D297353CC}">
                    <c16:uniqueId val="{00000003-010C-42CF-93BA-FF9276FACF80}"/>
                  </c:ext>
                </c:extLst>
              </c15:ser>
            </c15:filteredBarSeries>
          </c:ext>
        </c:extLst>
      </c:barChart>
      <c:catAx>
        <c:axId val="1322523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322523888"/>
        <c:crosses val="autoZero"/>
        <c:auto val="1"/>
        <c:lblAlgn val="ctr"/>
        <c:lblOffset val="100"/>
        <c:noMultiLvlLbl val="0"/>
      </c:catAx>
      <c:valAx>
        <c:axId val="13225238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322523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F443320-A566-45BE-B01D-AA8427CAF550}" type="doc">
      <dgm:prSet loTypeId="urn:microsoft.com/office/officeart/2005/8/layout/orgChart1" loCatId="hierarchy" qsTypeId="urn:microsoft.com/office/officeart/2005/8/quickstyle/simple5" qsCatId="simple" csTypeId="urn:microsoft.com/office/officeart/2005/8/colors/accent1_2" csCatId="accent1" phldr="1"/>
      <dgm:spPr/>
      <dgm:t>
        <a:bodyPr/>
        <a:lstStyle/>
        <a:p>
          <a:endParaRPr lang="nb-NO"/>
        </a:p>
      </dgm:t>
    </dgm:pt>
    <dgm:pt modelId="{624BE7EB-247D-4A94-BA60-C2724944C775}">
      <dgm:prSet phldrT="[Tekst]" custT="1"/>
      <dgm:spPr/>
      <dgm:t>
        <a:bodyPr/>
        <a:lstStyle/>
        <a:p>
          <a:r>
            <a:rPr lang="nb-NO" sz="1600" b="1" dirty="0"/>
            <a:t>Systemeiere FNSP</a:t>
          </a:r>
        </a:p>
        <a:p>
          <a:r>
            <a:rPr lang="nb-NO" sz="900" dirty="0"/>
            <a:t>De fire regionale fagdirektørene og </a:t>
          </a:r>
          <a:br>
            <a:rPr lang="nb-NO" sz="900" dirty="0"/>
          </a:br>
          <a:r>
            <a:rPr lang="nb-NO" sz="900" dirty="0"/>
            <a:t>de fire regionale kommunikasjonsdirektørene</a:t>
          </a:r>
        </a:p>
      </dgm:t>
    </dgm:pt>
    <dgm:pt modelId="{754002BD-9FA1-4D51-A765-C5FF50BA6F72}" type="parTrans" cxnId="{4E3FD8D5-45D8-4BC2-ACC4-C83682C26DE2}">
      <dgm:prSet/>
      <dgm:spPr/>
      <dgm:t>
        <a:bodyPr/>
        <a:lstStyle/>
        <a:p>
          <a:endParaRPr lang="nb-NO"/>
        </a:p>
      </dgm:t>
    </dgm:pt>
    <dgm:pt modelId="{3C01C5B4-195A-4B51-8A26-864550E3A907}" type="sibTrans" cxnId="{4E3FD8D5-45D8-4BC2-ACC4-C83682C26DE2}">
      <dgm:prSet/>
      <dgm:spPr/>
      <dgm:t>
        <a:bodyPr/>
        <a:lstStyle/>
        <a:p>
          <a:endParaRPr lang="nb-NO"/>
        </a:p>
      </dgm:t>
    </dgm:pt>
    <dgm:pt modelId="{F70E6F4A-9D4B-4065-AFD8-51E773AFDF7D}" type="asst">
      <dgm:prSet phldrT="[Tekst]" custT="1"/>
      <dgm:spPr>
        <a:solidFill>
          <a:srgbClr val="74A5CD"/>
        </a:solidFill>
      </dgm:spPr>
      <dgm:t>
        <a:bodyPr/>
        <a:lstStyle/>
        <a:p>
          <a:r>
            <a:rPr lang="nb-NO" sz="1200" b="1" dirty="0"/>
            <a:t>FNSP Interregional organisasjon</a:t>
          </a:r>
        </a:p>
      </dgm:t>
    </dgm:pt>
    <dgm:pt modelId="{5A893572-544A-45A0-85E5-2D48C718F26B}" type="parTrans" cxnId="{22C6EB93-3D0C-4A3F-B8DD-38D75EDF6B1E}">
      <dgm:prSet/>
      <dgm:spPr/>
      <dgm:t>
        <a:bodyPr/>
        <a:lstStyle/>
        <a:p>
          <a:endParaRPr lang="nb-NO"/>
        </a:p>
      </dgm:t>
    </dgm:pt>
    <dgm:pt modelId="{C9C827CA-8C75-4B1A-A7CC-886B19FA5054}" type="sibTrans" cxnId="{22C6EB93-3D0C-4A3F-B8DD-38D75EDF6B1E}">
      <dgm:prSet/>
      <dgm:spPr/>
      <dgm:t>
        <a:bodyPr/>
        <a:lstStyle/>
        <a:p>
          <a:endParaRPr lang="nb-NO"/>
        </a:p>
      </dgm:t>
    </dgm:pt>
    <dgm:pt modelId="{62E37BD9-60A9-47D6-A0FA-F07C1ABA491C}">
      <dgm:prSet phldrT="[Tekst]" custT="1"/>
      <dgm:spPr>
        <a:solidFill>
          <a:srgbClr val="ADB8B3"/>
        </a:solidFill>
      </dgm:spPr>
      <dgm:t>
        <a:bodyPr/>
        <a:lstStyle/>
        <a:p>
          <a:r>
            <a:rPr lang="nb-NO" sz="1400" b="1" dirty="0"/>
            <a:t>Helse Sør-Øst</a:t>
          </a:r>
        </a:p>
      </dgm:t>
    </dgm:pt>
    <dgm:pt modelId="{58CA7CAE-89B1-4916-A459-A4FC691D5755}" type="parTrans" cxnId="{1F4FE4C5-7EBB-44C5-AA1F-0E36665D398A}">
      <dgm:prSet/>
      <dgm:spPr/>
      <dgm:t>
        <a:bodyPr/>
        <a:lstStyle/>
        <a:p>
          <a:endParaRPr lang="nb-NO"/>
        </a:p>
      </dgm:t>
    </dgm:pt>
    <dgm:pt modelId="{87CAEA3A-CCFF-45A4-A57C-D8E71A9E4010}" type="sibTrans" cxnId="{1F4FE4C5-7EBB-44C5-AA1F-0E36665D398A}">
      <dgm:prSet/>
      <dgm:spPr/>
      <dgm:t>
        <a:bodyPr/>
        <a:lstStyle/>
        <a:p>
          <a:endParaRPr lang="nb-NO"/>
        </a:p>
      </dgm:t>
    </dgm:pt>
    <dgm:pt modelId="{F5FC4D9F-67B9-4637-86BC-E27A820F50B5}">
      <dgm:prSet phldrT="[Tekst]" custT="1"/>
      <dgm:spPr>
        <a:solidFill>
          <a:srgbClr val="ADB8B3"/>
        </a:solidFill>
      </dgm:spPr>
      <dgm:t>
        <a:bodyPr/>
        <a:lstStyle/>
        <a:p>
          <a:r>
            <a:rPr lang="nb-NO" sz="1400" b="1" dirty="0"/>
            <a:t>Helse Vest</a:t>
          </a:r>
        </a:p>
      </dgm:t>
    </dgm:pt>
    <dgm:pt modelId="{47A4EA3A-1755-40AF-8579-E580C01E752E}" type="parTrans" cxnId="{CF3628C6-BF85-4AAE-B563-989807A687D2}">
      <dgm:prSet/>
      <dgm:spPr/>
      <dgm:t>
        <a:bodyPr/>
        <a:lstStyle/>
        <a:p>
          <a:endParaRPr lang="nb-NO"/>
        </a:p>
      </dgm:t>
    </dgm:pt>
    <dgm:pt modelId="{316052F3-86FD-4F5C-8AD9-7E0A9F2F9510}" type="sibTrans" cxnId="{CF3628C6-BF85-4AAE-B563-989807A687D2}">
      <dgm:prSet/>
      <dgm:spPr/>
      <dgm:t>
        <a:bodyPr/>
        <a:lstStyle/>
        <a:p>
          <a:endParaRPr lang="nb-NO"/>
        </a:p>
      </dgm:t>
    </dgm:pt>
    <dgm:pt modelId="{EC1CE179-5F4D-4F6B-A812-E916C905F45F}">
      <dgm:prSet phldrT="[Tekst]" custT="1"/>
      <dgm:spPr>
        <a:solidFill>
          <a:srgbClr val="ADB8B3"/>
        </a:solidFill>
      </dgm:spPr>
      <dgm:t>
        <a:bodyPr/>
        <a:lstStyle/>
        <a:p>
          <a:r>
            <a:rPr lang="nb-NO" sz="1400" b="1" dirty="0"/>
            <a:t>Helse Midt</a:t>
          </a:r>
        </a:p>
      </dgm:t>
    </dgm:pt>
    <dgm:pt modelId="{9E8BAD73-7156-4331-AA4C-84F5FEC080EB}" type="parTrans" cxnId="{6C60B940-906F-4E54-BCC3-4BB48AFD17F8}">
      <dgm:prSet/>
      <dgm:spPr/>
      <dgm:t>
        <a:bodyPr/>
        <a:lstStyle/>
        <a:p>
          <a:endParaRPr lang="nb-NO"/>
        </a:p>
      </dgm:t>
    </dgm:pt>
    <dgm:pt modelId="{B797EC2A-AC7D-4520-8CBD-1E843CAFC002}" type="sibTrans" cxnId="{6C60B940-906F-4E54-BCC3-4BB48AFD17F8}">
      <dgm:prSet/>
      <dgm:spPr/>
      <dgm:t>
        <a:bodyPr/>
        <a:lstStyle/>
        <a:p>
          <a:endParaRPr lang="nb-NO"/>
        </a:p>
      </dgm:t>
    </dgm:pt>
    <dgm:pt modelId="{E1919BFE-1D25-4F75-907E-01DF8278F776}">
      <dgm:prSet phldrT="[Tekst]"/>
      <dgm:spPr>
        <a:solidFill>
          <a:srgbClr val="6D8480"/>
        </a:solidFill>
      </dgm:spPr>
      <dgm:t>
        <a:bodyPr/>
        <a:lstStyle/>
        <a:p>
          <a:r>
            <a:rPr lang="nb-NO" dirty="0"/>
            <a:t>Sykehus, RHF, IKT, Apotek, private ideelle, pasientreiser, Sykehusbygg, HDO, Nye Metoder</a:t>
          </a:r>
        </a:p>
      </dgm:t>
    </dgm:pt>
    <dgm:pt modelId="{76CA3038-55EB-4713-B871-CAA0E3CBE0C1}" type="parTrans" cxnId="{3084EAE0-1298-4D63-9C55-9709BA1919E5}">
      <dgm:prSet/>
      <dgm:spPr/>
      <dgm:t>
        <a:bodyPr/>
        <a:lstStyle/>
        <a:p>
          <a:endParaRPr lang="nb-NO"/>
        </a:p>
      </dgm:t>
    </dgm:pt>
    <dgm:pt modelId="{5068CB0D-FA4A-41AF-9372-878E24BD5BF3}" type="sibTrans" cxnId="{3084EAE0-1298-4D63-9C55-9709BA1919E5}">
      <dgm:prSet/>
      <dgm:spPr/>
      <dgm:t>
        <a:bodyPr/>
        <a:lstStyle/>
        <a:p>
          <a:endParaRPr lang="nb-NO"/>
        </a:p>
      </dgm:t>
    </dgm:pt>
    <dgm:pt modelId="{B04E86EB-9513-4166-B7E5-639EB6909CCD}">
      <dgm:prSet phldrT="[Tekst]"/>
      <dgm:spPr>
        <a:solidFill>
          <a:srgbClr val="6D8480"/>
        </a:solidFill>
      </dgm:spPr>
      <dgm:t>
        <a:bodyPr/>
        <a:lstStyle/>
        <a:p>
          <a:r>
            <a:rPr lang="nb-NO" dirty="0"/>
            <a:t>Sykehus, RHF, IKT, Apotek, private ideelle, saman.no</a:t>
          </a:r>
        </a:p>
      </dgm:t>
    </dgm:pt>
    <dgm:pt modelId="{67537E58-EDD0-456D-9605-7AE0AE41165A}" type="parTrans" cxnId="{B9866CA7-A9B7-4C61-A59E-6DFA7E7FAEE2}">
      <dgm:prSet/>
      <dgm:spPr/>
      <dgm:t>
        <a:bodyPr/>
        <a:lstStyle/>
        <a:p>
          <a:endParaRPr lang="nb-NO"/>
        </a:p>
      </dgm:t>
    </dgm:pt>
    <dgm:pt modelId="{E2CA3DB3-AB9E-4857-9B18-FD8FFF88A90D}" type="sibTrans" cxnId="{B9866CA7-A9B7-4C61-A59E-6DFA7E7FAEE2}">
      <dgm:prSet/>
      <dgm:spPr/>
      <dgm:t>
        <a:bodyPr/>
        <a:lstStyle/>
        <a:p>
          <a:endParaRPr lang="nb-NO"/>
        </a:p>
      </dgm:t>
    </dgm:pt>
    <dgm:pt modelId="{BE4D7703-84DB-485F-8189-4167778C342F}">
      <dgm:prSet phldrT="[Tekst]"/>
      <dgm:spPr>
        <a:solidFill>
          <a:srgbClr val="6D8480"/>
        </a:solidFill>
      </dgm:spPr>
      <dgm:t>
        <a:bodyPr/>
        <a:lstStyle/>
        <a:p>
          <a:r>
            <a:rPr lang="nb-NO" dirty="0"/>
            <a:t>Sykehus, RHF, IKT, Apotek, private ideelle</a:t>
          </a:r>
        </a:p>
      </dgm:t>
    </dgm:pt>
    <dgm:pt modelId="{278EAFB2-631A-40D5-AC9A-3C088C61BFEE}" type="parTrans" cxnId="{2ED64E25-E178-4D61-B0F1-76E697EA534B}">
      <dgm:prSet/>
      <dgm:spPr/>
      <dgm:t>
        <a:bodyPr/>
        <a:lstStyle/>
        <a:p>
          <a:endParaRPr lang="nb-NO"/>
        </a:p>
      </dgm:t>
    </dgm:pt>
    <dgm:pt modelId="{2959DBE9-B25E-4C8D-BCF4-78C8D7D8D122}" type="sibTrans" cxnId="{2ED64E25-E178-4D61-B0F1-76E697EA534B}">
      <dgm:prSet/>
      <dgm:spPr/>
      <dgm:t>
        <a:bodyPr/>
        <a:lstStyle/>
        <a:p>
          <a:endParaRPr lang="nb-NO"/>
        </a:p>
      </dgm:t>
    </dgm:pt>
    <dgm:pt modelId="{164D5775-828C-4B4F-80D0-73A1BE7E3B15}">
      <dgm:prSet phldrT="[Tekst]" custT="1"/>
      <dgm:spPr>
        <a:solidFill>
          <a:srgbClr val="ADB8B3"/>
        </a:solidFill>
      </dgm:spPr>
      <dgm:t>
        <a:bodyPr/>
        <a:lstStyle/>
        <a:p>
          <a:r>
            <a:rPr lang="nb-NO" sz="1400" b="1" dirty="0"/>
            <a:t>Helse Nord</a:t>
          </a:r>
        </a:p>
      </dgm:t>
    </dgm:pt>
    <dgm:pt modelId="{BF559517-1123-4B3F-B7D0-2F95467931C1}" type="parTrans" cxnId="{B6803811-50D4-4C5A-AF63-2FC73E6FC52E}">
      <dgm:prSet/>
      <dgm:spPr/>
      <dgm:t>
        <a:bodyPr/>
        <a:lstStyle/>
        <a:p>
          <a:endParaRPr lang="nb-NO"/>
        </a:p>
      </dgm:t>
    </dgm:pt>
    <dgm:pt modelId="{0A733190-AED8-49FB-8A30-3401A40EB2F2}" type="sibTrans" cxnId="{B6803811-50D4-4C5A-AF63-2FC73E6FC52E}">
      <dgm:prSet/>
      <dgm:spPr/>
      <dgm:t>
        <a:bodyPr/>
        <a:lstStyle/>
        <a:p>
          <a:endParaRPr lang="nb-NO"/>
        </a:p>
      </dgm:t>
    </dgm:pt>
    <dgm:pt modelId="{11F2DB37-150B-487F-AC55-86872AA6AEED}">
      <dgm:prSet phldrT="[Tekst]"/>
      <dgm:spPr>
        <a:solidFill>
          <a:srgbClr val="6D8480"/>
        </a:solidFill>
      </dgm:spPr>
      <dgm:t>
        <a:bodyPr/>
        <a:lstStyle/>
        <a:p>
          <a:r>
            <a:rPr lang="nb-NO" dirty="0"/>
            <a:t>Sykehus, RHF, IKT, Apotek, Sykehusinnkjøp, Luftambulansen</a:t>
          </a:r>
        </a:p>
      </dgm:t>
    </dgm:pt>
    <dgm:pt modelId="{8571C1E4-8618-4E0A-837F-0DE7BB0CF330}" type="parTrans" cxnId="{06AFE8D9-10FB-4939-9006-9B384ED926B8}">
      <dgm:prSet/>
      <dgm:spPr/>
      <dgm:t>
        <a:bodyPr/>
        <a:lstStyle/>
        <a:p>
          <a:endParaRPr lang="nb-NO"/>
        </a:p>
      </dgm:t>
    </dgm:pt>
    <dgm:pt modelId="{7A08EAD2-9E43-4E84-BBDD-AF5F2CC7E0FB}" type="sibTrans" cxnId="{06AFE8D9-10FB-4939-9006-9B384ED926B8}">
      <dgm:prSet/>
      <dgm:spPr/>
      <dgm:t>
        <a:bodyPr/>
        <a:lstStyle/>
        <a:p>
          <a:endParaRPr lang="nb-NO"/>
        </a:p>
      </dgm:t>
    </dgm:pt>
    <dgm:pt modelId="{383E8C05-3809-4794-A982-35BE0E1D83A7}" type="asst">
      <dgm:prSet phldrT="[Tekst]"/>
      <dgm:spPr>
        <a:solidFill>
          <a:srgbClr val="74A5CD"/>
        </a:solidFill>
      </dgm:spPr>
      <dgm:t>
        <a:bodyPr/>
        <a:lstStyle/>
        <a:p>
          <a:r>
            <a:rPr lang="nb-NO" b="1" dirty="0"/>
            <a:t>Seksjon FNSP i Norsk Helsenett</a:t>
          </a:r>
        </a:p>
      </dgm:t>
    </dgm:pt>
    <dgm:pt modelId="{39C36526-2F26-493E-A4CA-2D95CFE261E8}" type="parTrans" cxnId="{EB7B858A-C4EB-4233-BCDF-174BB1A9DB86}">
      <dgm:prSet/>
      <dgm:spPr/>
      <dgm:t>
        <a:bodyPr/>
        <a:lstStyle/>
        <a:p>
          <a:endParaRPr lang="nb-NO"/>
        </a:p>
      </dgm:t>
    </dgm:pt>
    <dgm:pt modelId="{0DFD7F81-428A-4A90-80D4-771EEACD6874}" type="sibTrans" cxnId="{EB7B858A-C4EB-4233-BCDF-174BB1A9DB86}">
      <dgm:prSet/>
      <dgm:spPr/>
      <dgm:t>
        <a:bodyPr/>
        <a:lstStyle/>
        <a:p>
          <a:endParaRPr lang="nb-NO"/>
        </a:p>
      </dgm:t>
    </dgm:pt>
    <dgm:pt modelId="{1641402B-F306-459E-A7F9-9344F2FC907C}" type="asst">
      <dgm:prSet phldrT="[Tekst]"/>
      <dgm:spPr>
        <a:solidFill>
          <a:srgbClr val="74A5CD"/>
        </a:solidFill>
      </dgm:spPr>
      <dgm:t>
        <a:bodyPr/>
        <a:lstStyle/>
        <a:p>
          <a:r>
            <a:rPr lang="nb-NO" b="1" dirty="0"/>
            <a:t>Medisinsk og </a:t>
          </a:r>
          <a:br>
            <a:rPr lang="nb-NO" b="1" dirty="0"/>
          </a:br>
          <a:r>
            <a:rPr lang="nb-NO" b="1" dirty="0"/>
            <a:t>helsefaglig redaksjon</a:t>
          </a:r>
        </a:p>
      </dgm:t>
    </dgm:pt>
    <dgm:pt modelId="{E4C934E9-0E2A-4215-A9D5-A6DD00565D8C}" type="parTrans" cxnId="{03D3BA8E-7B02-4D7A-A3B1-B504B8403EAE}">
      <dgm:prSet/>
      <dgm:spPr/>
      <dgm:t>
        <a:bodyPr/>
        <a:lstStyle/>
        <a:p>
          <a:endParaRPr lang="nb-NO"/>
        </a:p>
      </dgm:t>
    </dgm:pt>
    <dgm:pt modelId="{DB7DF7D3-C0F1-455E-81D8-E50D45E7E5C1}" type="sibTrans" cxnId="{03D3BA8E-7B02-4D7A-A3B1-B504B8403EAE}">
      <dgm:prSet/>
      <dgm:spPr/>
      <dgm:t>
        <a:bodyPr/>
        <a:lstStyle/>
        <a:p>
          <a:endParaRPr lang="nb-NO"/>
        </a:p>
      </dgm:t>
    </dgm:pt>
    <dgm:pt modelId="{56F2BEDC-6F29-40A2-BF58-B4DA831D31C2}">
      <dgm:prSet phldrT="[Tekst]" custT="1"/>
      <dgm:spPr>
        <a:solidFill>
          <a:srgbClr val="ADB8B3"/>
        </a:solidFill>
      </dgm:spPr>
      <dgm:t>
        <a:bodyPr/>
        <a:lstStyle/>
        <a:p>
          <a:r>
            <a:rPr lang="nb-NO" sz="1400" b="1" dirty="0"/>
            <a:t>Nasjonalt</a:t>
          </a:r>
        </a:p>
      </dgm:t>
    </dgm:pt>
    <dgm:pt modelId="{6627D59C-C2E7-45FC-B345-234289EEAB2F}" type="parTrans" cxnId="{26B8B048-065B-43F0-8800-FA5C502D312B}">
      <dgm:prSet/>
      <dgm:spPr/>
      <dgm:t>
        <a:bodyPr/>
        <a:lstStyle/>
        <a:p>
          <a:endParaRPr lang="nb-NO"/>
        </a:p>
      </dgm:t>
    </dgm:pt>
    <dgm:pt modelId="{E4EEFAE2-AF51-4E4B-A0C3-AC6E8BFA0779}" type="sibTrans" cxnId="{26B8B048-065B-43F0-8800-FA5C502D312B}">
      <dgm:prSet/>
      <dgm:spPr/>
      <dgm:t>
        <a:bodyPr/>
        <a:lstStyle/>
        <a:p>
          <a:endParaRPr lang="nb-NO"/>
        </a:p>
      </dgm:t>
    </dgm:pt>
    <dgm:pt modelId="{6B0B3CF7-CF4E-4A3E-A0CD-CCB5486C639D}">
      <dgm:prSet phldrT="[Tekst]"/>
      <dgm:spPr>
        <a:solidFill>
          <a:srgbClr val="6D8480"/>
        </a:solidFill>
      </dgm:spPr>
      <dgm:t>
        <a:bodyPr/>
        <a:lstStyle/>
        <a:p>
          <a:r>
            <a:rPr lang="nb-NO" b="1" dirty="0"/>
            <a:t>Spesialisthelsetjenesten.no</a:t>
          </a:r>
        </a:p>
        <a:p>
          <a:r>
            <a:rPr lang="nb-NO" b="1" dirty="0"/>
            <a:t>Fellesdatabase</a:t>
          </a:r>
        </a:p>
      </dgm:t>
    </dgm:pt>
    <dgm:pt modelId="{3C63686B-8ED4-4EAF-A926-A7D321519EF7}" type="parTrans" cxnId="{4A320F94-DF1A-4717-8F6C-18C4C79BC0C1}">
      <dgm:prSet/>
      <dgm:spPr/>
      <dgm:t>
        <a:bodyPr/>
        <a:lstStyle/>
        <a:p>
          <a:endParaRPr lang="nb-NO"/>
        </a:p>
      </dgm:t>
    </dgm:pt>
    <dgm:pt modelId="{D4B59249-7B54-4720-A780-A958A1821E1D}" type="sibTrans" cxnId="{4A320F94-DF1A-4717-8F6C-18C4C79BC0C1}">
      <dgm:prSet/>
      <dgm:spPr/>
      <dgm:t>
        <a:bodyPr/>
        <a:lstStyle/>
        <a:p>
          <a:endParaRPr lang="nb-NO"/>
        </a:p>
      </dgm:t>
    </dgm:pt>
    <dgm:pt modelId="{B9F462AB-1E1C-4B3E-8B88-843CBE440DA3}" type="pres">
      <dgm:prSet presAssocID="{EF443320-A566-45BE-B01D-AA8427CAF550}" presName="hierChild1" presStyleCnt="0">
        <dgm:presLayoutVars>
          <dgm:orgChart val="1"/>
          <dgm:chPref val="1"/>
          <dgm:dir/>
          <dgm:animOne val="branch"/>
          <dgm:animLvl val="lvl"/>
          <dgm:resizeHandles/>
        </dgm:presLayoutVars>
      </dgm:prSet>
      <dgm:spPr/>
    </dgm:pt>
    <dgm:pt modelId="{67CDB30D-64CB-439D-91AB-A8718655536B}" type="pres">
      <dgm:prSet presAssocID="{624BE7EB-247D-4A94-BA60-C2724944C775}" presName="hierRoot1" presStyleCnt="0">
        <dgm:presLayoutVars>
          <dgm:hierBranch val="init"/>
        </dgm:presLayoutVars>
      </dgm:prSet>
      <dgm:spPr/>
    </dgm:pt>
    <dgm:pt modelId="{E852D09C-CF8E-46DF-98FA-7106E23B1BE4}" type="pres">
      <dgm:prSet presAssocID="{624BE7EB-247D-4A94-BA60-C2724944C775}" presName="rootComposite1" presStyleCnt="0"/>
      <dgm:spPr/>
    </dgm:pt>
    <dgm:pt modelId="{6524178B-3A16-4893-A870-E4AA1235953E}" type="pres">
      <dgm:prSet presAssocID="{624BE7EB-247D-4A94-BA60-C2724944C775}" presName="rootText1" presStyleLbl="node0" presStyleIdx="0" presStyleCnt="1" custScaleX="284159" custScaleY="154452">
        <dgm:presLayoutVars>
          <dgm:chPref val="3"/>
        </dgm:presLayoutVars>
      </dgm:prSet>
      <dgm:spPr/>
    </dgm:pt>
    <dgm:pt modelId="{D80CB1C1-51AB-49BB-8763-05001619CBCC}" type="pres">
      <dgm:prSet presAssocID="{624BE7EB-247D-4A94-BA60-C2724944C775}" presName="rootConnector1" presStyleLbl="node1" presStyleIdx="0" presStyleCnt="0"/>
      <dgm:spPr/>
    </dgm:pt>
    <dgm:pt modelId="{97547E97-0A71-48D4-84CA-40BA78FC460F}" type="pres">
      <dgm:prSet presAssocID="{624BE7EB-247D-4A94-BA60-C2724944C775}" presName="hierChild2" presStyleCnt="0"/>
      <dgm:spPr/>
    </dgm:pt>
    <dgm:pt modelId="{2D5C7D8D-7FB5-40C7-919A-428B3AA94281}" type="pres">
      <dgm:prSet presAssocID="{58CA7CAE-89B1-4916-A459-A4FC691D5755}" presName="Name37" presStyleLbl="parChTrans1D2" presStyleIdx="0" presStyleCnt="6"/>
      <dgm:spPr/>
    </dgm:pt>
    <dgm:pt modelId="{167D8FC7-578E-43D5-9314-E63F5B236644}" type="pres">
      <dgm:prSet presAssocID="{62E37BD9-60A9-47D6-A0FA-F07C1ABA491C}" presName="hierRoot2" presStyleCnt="0">
        <dgm:presLayoutVars>
          <dgm:hierBranch val="init"/>
        </dgm:presLayoutVars>
      </dgm:prSet>
      <dgm:spPr/>
    </dgm:pt>
    <dgm:pt modelId="{F80C223B-21CF-4850-99F4-78B5EE753C66}" type="pres">
      <dgm:prSet presAssocID="{62E37BD9-60A9-47D6-A0FA-F07C1ABA491C}" presName="rootComposite" presStyleCnt="0"/>
      <dgm:spPr/>
    </dgm:pt>
    <dgm:pt modelId="{EA0AC095-C614-4F3E-97EA-AB38B9438A2F}" type="pres">
      <dgm:prSet presAssocID="{62E37BD9-60A9-47D6-A0FA-F07C1ABA491C}" presName="rootText" presStyleLbl="node2" presStyleIdx="0" presStyleCnt="5" custScaleX="112731">
        <dgm:presLayoutVars>
          <dgm:chPref val="3"/>
        </dgm:presLayoutVars>
      </dgm:prSet>
      <dgm:spPr/>
    </dgm:pt>
    <dgm:pt modelId="{59F7C7B8-92CB-4772-9BFE-1513F5F1514A}" type="pres">
      <dgm:prSet presAssocID="{62E37BD9-60A9-47D6-A0FA-F07C1ABA491C}" presName="rootConnector" presStyleLbl="node2" presStyleIdx="0" presStyleCnt="5"/>
      <dgm:spPr/>
    </dgm:pt>
    <dgm:pt modelId="{66AE4122-F738-4CE0-AEEA-80BC7FBA018E}" type="pres">
      <dgm:prSet presAssocID="{62E37BD9-60A9-47D6-A0FA-F07C1ABA491C}" presName="hierChild4" presStyleCnt="0"/>
      <dgm:spPr/>
    </dgm:pt>
    <dgm:pt modelId="{01327F79-C7CD-4FE5-96E7-CB925A108935}" type="pres">
      <dgm:prSet presAssocID="{76CA3038-55EB-4713-B871-CAA0E3CBE0C1}" presName="Name37" presStyleLbl="parChTrans1D3" presStyleIdx="0" presStyleCnt="7"/>
      <dgm:spPr/>
    </dgm:pt>
    <dgm:pt modelId="{A079B453-C1DC-4CE1-A4C0-61E218EFB953}" type="pres">
      <dgm:prSet presAssocID="{E1919BFE-1D25-4F75-907E-01DF8278F776}" presName="hierRoot2" presStyleCnt="0">
        <dgm:presLayoutVars>
          <dgm:hierBranch val="init"/>
        </dgm:presLayoutVars>
      </dgm:prSet>
      <dgm:spPr/>
    </dgm:pt>
    <dgm:pt modelId="{74BEB311-9725-47B5-B21A-22F6D4977B6C}" type="pres">
      <dgm:prSet presAssocID="{E1919BFE-1D25-4F75-907E-01DF8278F776}" presName="rootComposite" presStyleCnt="0"/>
      <dgm:spPr/>
    </dgm:pt>
    <dgm:pt modelId="{2F22D180-06F0-4A79-9B87-06A1BDE8D03F}" type="pres">
      <dgm:prSet presAssocID="{E1919BFE-1D25-4F75-907E-01DF8278F776}" presName="rootText" presStyleLbl="node3" presStyleIdx="0" presStyleCnt="5" custScaleX="112731" custScaleY="155086" custLinFactNeighborX="-3165">
        <dgm:presLayoutVars>
          <dgm:chPref val="3"/>
        </dgm:presLayoutVars>
      </dgm:prSet>
      <dgm:spPr/>
    </dgm:pt>
    <dgm:pt modelId="{4A7DEF4A-CA7D-432C-A666-5B5FF37BDD48}" type="pres">
      <dgm:prSet presAssocID="{E1919BFE-1D25-4F75-907E-01DF8278F776}" presName="rootConnector" presStyleLbl="node3" presStyleIdx="0" presStyleCnt="5"/>
      <dgm:spPr/>
    </dgm:pt>
    <dgm:pt modelId="{D8DC22D9-BC4D-48EC-8DE6-E29775838735}" type="pres">
      <dgm:prSet presAssocID="{E1919BFE-1D25-4F75-907E-01DF8278F776}" presName="hierChild4" presStyleCnt="0"/>
      <dgm:spPr/>
    </dgm:pt>
    <dgm:pt modelId="{9B2DE8FF-ACD5-4B45-A36E-7DDF8D747A15}" type="pres">
      <dgm:prSet presAssocID="{E1919BFE-1D25-4F75-907E-01DF8278F776}" presName="hierChild5" presStyleCnt="0"/>
      <dgm:spPr/>
    </dgm:pt>
    <dgm:pt modelId="{FF002198-4415-4E9C-A5C6-F50D8287A23B}" type="pres">
      <dgm:prSet presAssocID="{62E37BD9-60A9-47D6-A0FA-F07C1ABA491C}" presName="hierChild5" presStyleCnt="0"/>
      <dgm:spPr/>
    </dgm:pt>
    <dgm:pt modelId="{4C35B38F-2E55-46B2-A73C-E75DB337D06E}" type="pres">
      <dgm:prSet presAssocID="{47A4EA3A-1755-40AF-8579-E580C01E752E}" presName="Name37" presStyleLbl="parChTrans1D2" presStyleIdx="1" presStyleCnt="6"/>
      <dgm:spPr/>
    </dgm:pt>
    <dgm:pt modelId="{BD022669-AC5A-4088-827A-D3A223D118E2}" type="pres">
      <dgm:prSet presAssocID="{F5FC4D9F-67B9-4637-86BC-E27A820F50B5}" presName="hierRoot2" presStyleCnt="0">
        <dgm:presLayoutVars>
          <dgm:hierBranch val="init"/>
        </dgm:presLayoutVars>
      </dgm:prSet>
      <dgm:spPr/>
    </dgm:pt>
    <dgm:pt modelId="{E4D22FB4-B098-4DD8-B2F2-55378816AF08}" type="pres">
      <dgm:prSet presAssocID="{F5FC4D9F-67B9-4637-86BC-E27A820F50B5}" presName="rootComposite" presStyleCnt="0"/>
      <dgm:spPr/>
    </dgm:pt>
    <dgm:pt modelId="{6DCE400E-329A-4403-9FE0-81D54C72D09D}" type="pres">
      <dgm:prSet presAssocID="{F5FC4D9F-67B9-4637-86BC-E27A820F50B5}" presName="rootText" presStyleLbl="node2" presStyleIdx="1" presStyleCnt="5" custScaleX="112731">
        <dgm:presLayoutVars>
          <dgm:chPref val="3"/>
        </dgm:presLayoutVars>
      </dgm:prSet>
      <dgm:spPr/>
    </dgm:pt>
    <dgm:pt modelId="{A4731E05-9219-4D24-A3B4-CCB9510DA320}" type="pres">
      <dgm:prSet presAssocID="{F5FC4D9F-67B9-4637-86BC-E27A820F50B5}" presName="rootConnector" presStyleLbl="node2" presStyleIdx="1" presStyleCnt="5"/>
      <dgm:spPr/>
    </dgm:pt>
    <dgm:pt modelId="{CEE6A6A1-3B6C-4BF9-8E09-181093A63FC0}" type="pres">
      <dgm:prSet presAssocID="{F5FC4D9F-67B9-4637-86BC-E27A820F50B5}" presName="hierChild4" presStyleCnt="0"/>
      <dgm:spPr/>
    </dgm:pt>
    <dgm:pt modelId="{25CB9BF4-6066-4AD7-8A66-4556476EC99E}" type="pres">
      <dgm:prSet presAssocID="{67537E58-EDD0-456D-9605-7AE0AE41165A}" presName="Name37" presStyleLbl="parChTrans1D3" presStyleIdx="1" presStyleCnt="7"/>
      <dgm:spPr/>
    </dgm:pt>
    <dgm:pt modelId="{161AC284-F199-4DBD-A4DE-1C639DD2A4D7}" type="pres">
      <dgm:prSet presAssocID="{B04E86EB-9513-4166-B7E5-639EB6909CCD}" presName="hierRoot2" presStyleCnt="0">
        <dgm:presLayoutVars>
          <dgm:hierBranch val="init"/>
        </dgm:presLayoutVars>
      </dgm:prSet>
      <dgm:spPr/>
    </dgm:pt>
    <dgm:pt modelId="{C3A53B2C-2DBF-4FB8-B90F-6BC4DD726E66}" type="pres">
      <dgm:prSet presAssocID="{B04E86EB-9513-4166-B7E5-639EB6909CCD}" presName="rootComposite" presStyleCnt="0"/>
      <dgm:spPr/>
    </dgm:pt>
    <dgm:pt modelId="{E81D85D6-A20F-43A1-87C2-1FF575E58303}" type="pres">
      <dgm:prSet presAssocID="{B04E86EB-9513-4166-B7E5-639EB6909CCD}" presName="rootText" presStyleLbl="node3" presStyleIdx="1" presStyleCnt="5" custScaleX="112731" custLinFactNeighborX="-1266">
        <dgm:presLayoutVars>
          <dgm:chPref val="3"/>
        </dgm:presLayoutVars>
      </dgm:prSet>
      <dgm:spPr/>
    </dgm:pt>
    <dgm:pt modelId="{0DA78D3E-FE13-44AF-9A30-B872A2970B0E}" type="pres">
      <dgm:prSet presAssocID="{B04E86EB-9513-4166-B7E5-639EB6909CCD}" presName="rootConnector" presStyleLbl="node3" presStyleIdx="1" presStyleCnt="5"/>
      <dgm:spPr/>
    </dgm:pt>
    <dgm:pt modelId="{63FFC2D7-06CB-4F4C-AE8A-C73319DBA168}" type="pres">
      <dgm:prSet presAssocID="{B04E86EB-9513-4166-B7E5-639EB6909CCD}" presName="hierChild4" presStyleCnt="0"/>
      <dgm:spPr/>
    </dgm:pt>
    <dgm:pt modelId="{87B5529B-BE84-4591-A5AD-20B04E2A593E}" type="pres">
      <dgm:prSet presAssocID="{B04E86EB-9513-4166-B7E5-639EB6909CCD}" presName="hierChild5" presStyleCnt="0"/>
      <dgm:spPr/>
    </dgm:pt>
    <dgm:pt modelId="{56BB17A3-C778-49A6-A225-010CD1578CE3}" type="pres">
      <dgm:prSet presAssocID="{F5FC4D9F-67B9-4637-86BC-E27A820F50B5}" presName="hierChild5" presStyleCnt="0"/>
      <dgm:spPr/>
    </dgm:pt>
    <dgm:pt modelId="{2BBE26A0-FE86-430F-A39B-9FC07F018648}" type="pres">
      <dgm:prSet presAssocID="{9E8BAD73-7156-4331-AA4C-84F5FEC080EB}" presName="Name37" presStyleLbl="parChTrans1D2" presStyleIdx="2" presStyleCnt="6"/>
      <dgm:spPr/>
    </dgm:pt>
    <dgm:pt modelId="{D1973F09-790C-4162-8719-06342FBFE0E5}" type="pres">
      <dgm:prSet presAssocID="{EC1CE179-5F4D-4F6B-A812-E916C905F45F}" presName="hierRoot2" presStyleCnt="0">
        <dgm:presLayoutVars>
          <dgm:hierBranch val="init"/>
        </dgm:presLayoutVars>
      </dgm:prSet>
      <dgm:spPr/>
    </dgm:pt>
    <dgm:pt modelId="{0140AAB0-2BCA-4693-B685-20BDA9AD94E4}" type="pres">
      <dgm:prSet presAssocID="{EC1CE179-5F4D-4F6B-A812-E916C905F45F}" presName="rootComposite" presStyleCnt="0"/>
      <dgm:spPr/>
    </dgm:pt>
    <dgm:pt modelId="{83B438A5-AFE0-4FC8-97DF-85F367D8DC04}" type="pres">
      <dgm:prSet presAssocID="{EC1CE179-5F4D-4F6B-A812-E916C905F45F}" presName="rootText" presStyleLbl="node2" presStyleIdx="2" presStyleCnt="5" custScaleX="112731">
        <dgm:presLayoutVars>
          <dgm:chPref val="3"/>
        </dgm:presLayoutVars>
      </dgm:prSet>
      <dgm:spPr/>
    </dgm:pt>
    <dgm:pt modelId="{6D97FDCD-F4EB-47B0-AF36-169AF1CA3E79}" type="pres">
      <dgm:prSet presAssocID="{EC1CE179-5F4D-4F6B-A812-E916C905F45F}" presName="rootConnector" presStyleLbl="node2" presStyleIdx="2" presStyleCnt="5"/>
      <dgm:spPr/>
    </dgm:pt>
    <dgm:pt modelId="{759978FE-E160-4AB1-B8CE-A8DDB47637C7}" type="pres">
      <dgm:prSet presAssocID="{EC1CE179-5F4D-4F6B-A812-E916C905F45F}" presName="hierChild4" presStyleCnt="0"/>
      <dgm:spPr/>
    </dgm:pt>
    <dgm:pt modelId="{AA3AB343-DBF8-409D-AE04-F7510D1F7BCD}" type="pres">
      <dgm:prSet presAssocID="{278EAFB2-631A-40D5-AC9A-3C088C61BFEE}" presName="Name37" presStyleLbl="parChTrans1D3" presStyleIdx="2" presStyleCnt="7"/>
      <dgm:spPr/>
    </dgm:pt>
    <dgm:pt modelId="{22559A6F-2C15-4FEB-B847-2E3C0B391E3F}" type="pres">
      <dgm:prSet presAssocID="{BE4D7703-84DB-485F-8189-4167778C342F}" presName="hierRoot2" presStyleCnt="0">
        <dgm:presLayoutVars>
          <dgm:hierBranch val="init"/>
        </dgm:presLayoutVars>
      </dgm:prSet>
      <dgm:spPr/>
    </dgm:pt>
    <dgm:pt modelId="{4E1AC43C-E7F3-4797-A217-D9987AA77FC1}" type="pres">
      <dgm:prSet presAssocID="{BE4D7703-84DB-485F-8189-4167778C342F}" presName="rootComposite" presStyleCnt="0"/>
      <dgm:spPr/>
    </dgm:pt>
    <dgm:pt modelId="{B220D50F-23F1-4F57-85A5-0C5CB47DFCBF}" type="pres">
      <dgm:prSet presAssocID="{BE4D7703-84DB-485F-8189-4167778C342F}" presName="rootText" presStyleLbl="node3" presStyleIdx="2" presStyleCnt="5" custScaleX="112731" custLinFactNeighborX="-1266">
        <dgm:presLayoutVars>
          <dgm:chPref val="3"/>
        </dgm:presLayoutVars>
      </dgm:prSet>
      <dgm:spPr/>
    </dgm:pt>
    <dgm:pt modelId="{033BD9A9-B932-478E-897B-05D9D9E3A2FC}" type="pres">
      <dgm:prSet presAssocID="{BE4D7703-84DB-485F-8189-4167778C342F}" presName="rootConnector" presStyleLbl="node3" presStyleIdx="2" presStyleCnt="5"/>
      <dgm:spPr/>
    </dgm:pt>
    <dgm:pt modelId="{C66F6009-4647-4B4B-B9C5-9D2566ED2AB0}" type="pres">
      <dgm:prSet presAssocID="{BE4D7703-84DB-485F-8189-4167778C342F}" presName="hierChild4" presStyleCnt="0"/>
      <dgm:spPr/>
    </dgm:pt>
    <dgm:pt modelId="{01899D05-AFEB-4876-B509-FE7211FC8698}" type="pres">
      <dgm:prSet presAssocID="{BE4D7703-84DB-485F-8189-4167778C342F}" presName="hierChild5" presStyleCnt="0"/>
      <dgm:spPr/>
    </dgm:pt>
    <dgm:pt modelId="{54E49008-3C7C-46E4-B876-FD26C650DC32}" type="pres">
      <dgm:prSet presAssocID="{EC1CE179-5F4D-4F6B-A812-E916C905F45F}" presName="hierChild5" presStyleCnt="0"/>
      <dgm:spPr/>
    </dgm:pt>
    <dgm:pt modelId="{01FEF4FC-33C9-42AB-BEA9-79595D5BFA18}" type="pres">
      <dgm:prSet presAssocID="{BF559517-1123-4B3F-B7D0-2F95467931C1}" presName="Name37" presStyleLbl="parChTrans1D2" presStyleIdx="3" presStyleCnt="6"/>
      <dgm:spPr/>
    </dgm:pt>
    <dgm:pt modelId="{027292D2-5120-41D2-8DFC-BBE5DE29CFE5}" type="pres">
      <dgm:prSet presAssocID="{164D5775-828C-4B4F-80D0-73A1BE7E3B15}" presName="hierRoot2" presStyleCnt="0">
        <dgm:presLayoutVars>
          <dgm:hierBranch val="init"/>
        </dgm:presLayoutVars>
      </dgm:prSet>
      <dgm:spPr/>
    </dgm:pt>
    <dgm:pt modelId="{69C1F6A8-489C-4473-A6A6-17C6E78E06B3}" type="pres">
      <dgm:prSet presAssocID="{164D5775-828C-4B4F-80D0-73A1BE7E3B15}" presName="rootComposite" presStyleCnt="0"/>
      <dgm:spPr/>
    </dgm:pt>
    <dgm:pt modelId="{213B51C0-F5E9-4CA2-9459-6F201DC6F477}" type="pres">
      <dgm:prSet presAssocID="{164D5775-828C-4B4F-80D0-73A1BE7E3B15}" presName="rootText" presStyleLbl="node2" presStyleIdx="3" presStyleCnt="5" custScaleX="112731">
        <dgm:presLayoutVars>
          <dgm:chPref val="3"/>
        </dgm:presLayoutVars>
      </dgm:prSet>
      <dgm:spPr/>
    </dgm:pt>
    <dgm:pt modelId="{845C6207-4641-4076-BD4A-E9D2DE20BCB3}" type="pres">
      <dgm:prSet presAssocID="{164D5775-828C-4B4F-80D0-73A1BE7E3B15}" presName="rootConnector" presStyleLbl="node2" presStyleIdx="3" presStyleCnt="5"/>
      <dgm:spPr/>
    </dgm:pt>
    <dgm:pt modelId="{4F458BD7-81DD-4675-95B0-8E32C71AAE52}" type="pres">
      <dgm:prSet presAssocID="{164D5775-828C-4B4F-80D0-73A1BE7E3B15}" presName="hierChild4" presStyleCnt="0"/>
      <dgm:spPr/>
    </dgm:pt>
    <dgm:pt modelId="{58BDBD3D-F1F5-4A9A-A114-CCD9154CF215}" type="pres">
      <dgm:prSet presAssocID="{8571C1E4-8618-4E0A-837F-0DE7BB0CF330}" presName="Name37" presStyleLbl="parChTrans1D3" presStyleIdx="3" presStyleCnt="7"/>
      <dgm:spPr/>
    </dgm:pt>
    <dgm:pt modelId="{73C9C141-6898-46FD-80C4-FE3EB16E1E07}" type="pres">
      <dgm:prSet presAssocID="{11F2DB37-150B-487F-AC55-86872AA6AEED}" presName="hierRoot2" presStyleCnt="0">
        <dgm:presLayoutVars>
          <dgm:hierBranch val="init"/>
        </dgm:presLayoutVars>
      </dgm:prSet>
      <dgm:spPr/>
    </dgm:pt>
    <dgm:pt modelId="{08611DB8-86DF-498D-905F-EC04F42D896E}" type="pres">
      <dgm:prSet presAssocID="{11F2DB37-150B-487F-AC55-86872AA6AEED}" presName="rootComposite" presStyleCnt="0"/>
      <dgm:spPr/>
    </dgm:pt>
    <dgm:pt modelId="{AA84B735-EDFC-4E8C-BA50-D5E76F608F2A}" type="pres">
      <dgm:prSet presAssocID="{11F2DB37-150B-487F-AC55-86872AA6AEED}" presName="rootText" presStyleLbl="node3" presStyleIdx="3" presStyleCnt="5" custScaleX="112731" custLinFactNeighborX="-1266">
        <dgm:presLayoutVars>
          <dgm:chPref val="3"/>
        </dgm:presLayoutVars>
      </dgm:prSet>
      <dgm:spPr/>
    </dgm:pt>
    <dgm:pt modelId="{B40DAE93-61C9-47A0-84C9-D7ED35FB3137}" type="pres">
      <dgm:prSet presAssocID="{11F2DB37-150B-487F-AC55-86872AA6AEED}" presName="rootConnector" presStyleLbl="node3" presStyleIdx="3" presStyleCnt="5"/>
      <dgm:spPr/>
    </dgm:pt>
    <dgm:pt modelId="{36A88CE2-7963-4197-9C58-8DC58B46EB3E}" type="pres">
      <dgm:prSet presAssocID="{11F2DB37-150B-487F-AC55-86872AA6AEED}" presName="hierChild4" presStyleCnt="0"/>
      <dgm:spPr/>
    </dgm:pt>
    <dgm:pt modelId="{53912CE0-2758-4671-8D4D-AB316AAF5D2C}" type="pres">
      <dgm:prSet presAssocID="{11F2DB37-150B-487F-AC55-86872AA6AEED}" presName="hierChild5" presStyleCnt="0"/>
      <dgm:spPr/>
    </dgm:pt>
    <dgm:pt modelId="{5F6A61DA-5EF6-4651-9912-C5AC0F998941}" type="pres">
      <dgm:prSet presAssocID="{164D5775-828C-4B4F-80D0-73A1BE7E3B15}" presName="hierChild5" presStyleCnt="0"/>
      <dgm:spPr/>
    </dgm:pt>
    <dgm:pt modelId="{355F570F-04AF-41AC-B7D4-471989C451D2}" type="pres">
      <dgm:prSet presAssocID="{6627D59C-C2E7-45FC-B345-234289EEAB2F}" presName="Name37" presStyleLbl="parChTrans1D2" presStyleIdx="4" presStyleCnt="6"/>
      <dgm:spPr/>
    </dgm:pt>
    <dgm:pt modelId="{9F20AE73-2819-4804-A216-A6A70A879452}" type="pres">
      <dgm:prSet presAssocID="{56F2BEDC-6F29-40A2-BF58-B4DA831D31C2}" presName="hierRoot2" presStyleCnt="0">
        <dgm:presLayoutVars>
          <dgm:hierBranch val="init"/>
        </dgm:presLayoutVars>
      </dgm:prSet>
      <dgm:spPr/>
    </dgm:pt>
    <dgm:pt modelId="{FD2442DA-E520-414B-A8DE-826BAE7B6878}" type="pres">
      <dgm:prSet presAssocID="{56F2BEDC-6F29-40A2-BF58-B4DA831D31C2}" presName="rootComposite" presStyleCnt="0"/>
      <dgm:spPr/>
    </dgm:pt>
    <dgm:pt modelId="{319D2089-B739-4CC2-B483-DED4DD61A5B3}" type="pres">
      <dgm:prSet presAssocID="{56F2BEDC-6F29-40A2-BF58-B4DA831D31C2}" presName="rootText" presStyleLbl="node2" presStyleIdx="4" presStyleCnt="5" custScaleX="112731">
        <dgm:presLayoutVars>
          <dgm:chPref val="3"/>
        </dgm:presLayoutVars>
      </dgm:prSet>
      <dgm:spPr/>
    </dgm:pt>
    <dgm:pt modelId="{B7D8D6FD-2171-4A20-AEFF-67F427BCDA72}" type="pres">
      <dgm:prSet presAssocID="{56F2BEDC-6F29-40A2-BF58-B4DA831D31C2}" presName="rootConnector" presStyleLbl="node2" presStyleIdx="4" presStyleCnt="5"/>
      <dgm:spPr/>
    </dgm:pt>
    <dgm:pt modelId="{FEF71179-16D1-4D92-95A5-890116CF2795}" type="pres">
      <dgm:prSet presAssocID="{56F2BEDC-6F29-40A2-BF58-B4DA831D31C2}" presName="hierChild4" presStyleCnt="0"/>
      <dgm:spPr/>
    </dgm:pt>
    <dgm:pt modelId="{41DD7839-18B7-4845-9F2E-3D621B2DE3B8}" type="pres">
      <dgm:prSet presAssocID="{3C63686B-8ED4-4EAF-A926-A7D321519EF7}" presName="Name37" presStyleLbl="parChTrans1D3" presStyleIdx="4" presStyleCnt="7"/>
      <dgm:spPr/>
    </dgm:pt>
    <dgm:pt modelId="{C5E24D7C-BA8F-424A-99DA-998D58E9E75F}" type="pres">
      <dgm:prSet presAssocID="{6B0B3CF7-CF4E-4A3E-A0CD-CCB5486C639D}" presName="hierRoot2" presStyleCnt="0">
        <dgm:presLayoutVars>
          <dgm:hierBranch val="init"/>
        </dgm:presLayoutVars>
      </dgm:prSet>
      <dgm:spPr/>
    </dgm:pt>
    <dgm:pt modelId="{1391E6C1-66D5-4935-BEDE-D5EE195B364F}" type="pres">
      <dgm:prSet presAssocID="{6B0B3CF7-CF4E-4A3E-A0CD-CCB5486C639D}" presName="rootComposite" presStyleCnt="0"/>
      <dgm:spPr/>
    </dgm:pt>
    <dgm:pt modelId="{77061BE3-E5FB-4B96-81F3-CD678C4F7DA8}" type="pres">
      <dgm:prSet presAssocID="{6B0B3CF7-CF4E-4A3E-A0CD-CCB5486C639D}" presName="rootText" presStyleLbl="node3" presStyleIdx="4" presStyleCnt="5" custScaleX="112731" custLinFactNeighborX="-1266">
        <dgm:presLayoutVars>
          <dgm:chPref val="3"/>
        </dgm:presLayoutVars>
      </dgm:prSet>
      <dgm:spPr/>
    </dgm:pt>
    <dgm:pt modelId="{720FDF6E-8B3B-4592-9C71-F51E65843144}" type="pres">
      <dgm:prSet presAssocID="{6B0B3CF7-CF4E-4A3E-A0CD-CCB5486C639D}" presName="rootConnector" presStyleLbl="node3" presStyleIdx="4" presStyleCnt="5"/>
      <dgm:spPr/>
    </dgm:pt>
    <dgm:pt modelId="{E80E7C5F-FA02-405B-BE4A-B6B46EA85F1A}" type="pres">
      <dgm:prSet presAssocID="{6B0B3CF7-CF4E-4A3E-A0CD-CCB5486C639D}" presName="hierChild4" presStyleCnt="0"/>
      <dgm:spPr/>
    </dgm:pt>
    <dgm:pt modelId="{B666923E-71BD-48CA-A02B-A795B7D72ED2}" type="pres">
      <dgm:prSet presAssocID="{6B0B3CF7-CF4E-4A3E-A0CD-CCB5486C639D}" presName="hierChild5" presStyleCnt="0"/>
      <dgm:spPr/>
    </dgm:pt>
    <dgm:pt modelId="{50C9781C-FE4C-4F4F-95CA-41EE7876917F}" type="pres">
      <dgm:prSet presAssocID="{56F2BEDC-6F29-40A2-BF58-B4DA831D31C2}" presName="hierChild5" presStyleCnt="0"/>
      <dgm:spPr/>
    </dgm:pt>
    <dgm:pt modelId="{C718BF62-25B7-4306-97C7-E68AA4A243A1}" type="pres">
      <dgm:prSet presAssocID="{624BE7EB-247D-4A94-BA60-C2724944C775}" presName="hierChild3" presStyleCnt="0"/>
      <dgm:spPr/>
    </dgm:pt>
    <dgm:pt modelId="{056404A5-ACF6-415A-BCE9-67F0D136160F}" type="pres">
      <dgm:prSet presAssocID="{5A893572-544A-45A0-85E5-2D48C718F26B}" presName="Name111" presStyleLbl="parChTrans1D2" presStyleIdx="5" presStyleCnt="6"/>
      <dgm:spPr/>
    </dgm:pt>
    <dgm:pt modelId="{D1AE3956-155B-4C12-9772-57F65C33D8E4}" type="pres">
      <dgm:prSet presAssocID="{F70E6F4A-9D4B-4065-AFD8-51E773AFDF7D}" presName="hierRoot3" presStyleCnt="0">
        <dgm:presLayoutVars>
          <dgm:hierBranch val="init"/>
        </dgm:presLayoutVars>
      </dgm:prSet>
      <dgm:spPr/>
    </dgm:pt>
    <dgm:pt modelId="{08A36373-6093-4042-A0DC-C1E9E8F206A3}" type="pres">
      <dgm:prSet presAssocID="{F70E6F4A-9D4B-4065-AFD8-51E773AFDF7D}" presName="rootComposite3" presStyleCnt="0"/>
      <dgm:spPr/>
    </dgm:pt>
    <dgm:pt modelId="{3DF1DE0D-2B3C-464A-A64E-5BD34333B3BF}" type="pres">
      <dgm:prSet presAssocID="{F70E6F4A-9D4B-4065-AFD8-51E773AFDF7D}" presName="rootText3" presStyleLbl="asst1" presStyleIdx="0" presStyleCnt="3" custScaleX="258474" custLinFactNeighborX="-16323" custLinFactNeighborY="3907">
        <dgm:presLayoutVars>
          <dgm:chPref val="3"/>
        </dgm:presLayoutVars>
      </dgm:prSet>
      <dgm:spPr/>
    </dgm:pt>
    <dgm:pt modelId="{EADBC0E0-7770-4110-B18C-D8DF12120229}" type="pres">
      <dgm:prSet presAssocID="{F70E6F4A-9D4B-4065-AFD8-51E773AFDF7D}" presName="rootConnector3" presStyleLbl="asst1" presStyleIdx="0" presStyleCnt="3"/>
      <dgm:spPr/>
    </dgm:pt>
    <dgm:pt modelId="{CB15C420-95D3-4346-86CD-6662285651C0}" type="pres">
      <dgm:prSet presAssocID="{F70E6F4A-9D4B-4065-AFD8-51E773AFDF7D}" presName="hierChild6" presStyleCnt="0"/>
      <dgm:spPr/>
    </dgm:pt>
    <dgm:pt modelId="{6E520B6B-FC97-4E46-AE6E-9E1CB76E6FEA}" type="pres">
      <dgm:prSet presAssocID="{F70E6F4A-9D4B-4065-AFD8-51E773AFDF7D}" presName="hierChild7" presStyleCnt="0"/>
      <dgm:spPr/>
    </dgm:pt>
    <dgm:pt modelId="{93D6517F-0385-49AA-8B4F-A83D4974E921}" type="pres">
      <dgm:prSet presAssocID="{E4C934E9-0E2A-4215-A9D5-A6DD00565D8C}" presName="Name111" presStyleLbl="parChTrans1D3" presStyleIdx="5" presStyleCnt="7"/>
      <dgm:spPr/>
    </dgm:pt>
    <dgm:pt modelId="{6B4A797E-A22C-4F65-B993-EBA42E1BD5FD}" type="pres">
      <dgm:prSet presAssocID="{1641402B-F306-459E-A7F9-9344F2FC907C}" presName="hierRoot3" presStyleCnt="0">
        <dgm:presLayoutVars>
          <dgm:hierBranch val="init"/>
        </dgm:presLayoutVars>
      </dgm:prSet>
      <dgm:spPr/>
    </dgm:pt>
    <dgm:pt modelId="{75F9F437-293B-4370-95C5-5BAF68495069}" type="pres">
      <dgm:prSet presAssocID="{1641402B-F306-459E-A7F9-9344F2FC907C}" presName="rootComposite3" presStyleCnt="0"/>
      <dgm:spPr/>
    </dgm:pt>
    <dgm:pt modelId="{FFED62F0-9375-4AFA-91BF-8BEB1B1DA122}" type="pres">
      <dgm:prSet presAssocID="{1641402B-F306-459E-A7F9-9344F2FC907C}" presName="rootText3" presStyleLbl="asst1" presStyleIdx="1" presStyleCnt="3" custScaleX="112731" custLinFactX="24078" custLinFactNeighborX="100000" custLinFactNeighborY="-5629">
        <dgm:presLayoutVars>
          <dgm:chPref val="3"/>
        </dgm:presLayoutVars>
      </dgm:prSet>
      <dgm:spPr/>
    </dgm:pt>
    <dgm:pt modelId="{5BE058EB-05D6-4F2E-BDD5-D44753170512}" type="pres">
      <dgm:prSet presAssocID="{1641402B-F306-459E-A7F9-9344F2FC907C}" presName="rootConnector3" presStyleLbl="asst1" presStyleIdx="1" presStyleCnt="3"/>
      <dgm:spPr/>
    </dgm:pt>
    <dgm:pt modelId="{45EAED0C-91DF-45BD-9BF0-2CD306173B80}" type="pres">
      <dgm:prSet presAssocID="{1641402B-F306-459E-A7F9-9344F2FC907C}" presName="hierChild6" presStyleCnt="0"/>
      <dgm:spPr/>
    </dgm:pt>
    <dgm:pt modelId="{456F6E93-DC9C-4DFC-8DB6-3BB2828B4713}" type="pres">
      <dgm:prSet presAssocID="{1641402B-F306-459E-A7F9-9344F2FC907C}" presName="hierChild7" presStyleCnt="0"/>
      <dgm:spPr/>
    </dgm:pt>
    <dgm:pt modelId="{01A05628-C9C6-431E-8A03-CADF1A277206}" type="pres">
      <dgm:prSet presAssocID="{39C36526-2F26-493E-A4CA-2D95CFE261E8}" presName="Name111" presStyleLbl="parChTrans1D3" presStyleIdx="6" presStyleCnt="7"/>
      <dgm:spPr/>
    </dgm:pt>
    <dgm:pt modelId="{390C3BD9-C49D-4D58-99ED-D69FB82CCA1D}" type="pres">
      <dgm:prSet presAssocID="{383E8C05-3809-4794-A982-35BE0E1D83A7}" presName="hierRoot3" presStyleCnt="0">
        <dgm:presLayoutVars>
          <dgm:hierBranch val="init"/>
        </dgm:presLayoutVars>
      </dgm:prSet>
      <dgm:spPr/>
    </dgm:pt>
    <dgm:pt modelId="{01AC38BB-3C65-453A-B478-47B8AE5EBCF6}" type="pres">
      <dgm:prSet presAssocID="{383E8C05-3809-4794-A982-35BE0E1D83A7}" presName="rootComposite3" presStyleCnt="0"/>
      <dgm:spPr/>
    </dgm:pt>
    <dgm:pt modelId="{35267D9E-1B25-44B5-AAF3-E6D98E68EAB1}" type="pres">
      <dgm:prSet presAssocID="{383E8C05-3809-4794-A982-35BE0E1D83A7}" presName="rootText3" presStyleLbl="asst1" presStyleIdx="2" presStyleCnt="3" custScaleX="112731" custLinFactX="-57254" custLinFactNeighborX="-100000" custLinFactNeighborY="-5629">
        <dgm:presLayoutVars>
          <dgm:chPref val="3"/>
        </dgm:presLayoutVars>
      </dgm:prSet>
      <dgm:spPr/>
    </dgm:pt>
    <dgm:pt modelId="{C2F961CF-9488-40B4-A5E8-C3FE9B710635}" type="pres">
      <dgm:prSet presAssocID="{383E8C05-3809-4794-A982-35BE0E1D83A7}" presName="rootConnector3" presStyleLbl="asst1" presStyleIdx="2" presStyleCnt="3"/>
      <dgm:spPr/>
    </dgm:pt>
    <dgm:pt modelId="{542E4E9E-F9B7-4FC3-A6DA-034757BBEC93}" type="pres">
      <dgm:prSet presAssocID="{383E8C05-3809-4794-A982-35BE0E1D83A7}" presName="hierChild6" presStyleCnt="0"/>
      <dgm:spPr/>
    </dgm:pt>
    <dgm:pt modelId="{4C3F5E65-414E-4E32-9156-E925ABD50F13}" type="pres">
      <dgm:prSet presAssocID="{383E8C05-3809-4794-A982-35BE0E1D83A7}" presName="hierChild7" presStyleCnt="0"/>
      <dgm:spPr/>
    </dgm:pt>
  </dgm:ptLst>
  <dgm:cxnLst>
    <dgm:cxn modelId="{B6803811-50D4-4C5A-AF63-2FC73E6FC52E}" srcId="{624BE7EB-247D-4A94-BA60-C2724944C775}" destId="{164D5775-828C-4B4F-80D0-73A1BE7E3B15}" srcOrd="4" destOrd="0" parTransId="{BF559517-1123-4B3F-B7D0-2F95467931C1}" sibTransId="{0A733190-AED8-49FB-8A30-3401A40EB2F2}"/>
    <dgm:cxn modelId="{F2D0AE1A-E2A6-4DD4-8ABD-63DC053CC195}" type="presOf" srcId="{6B0B3CF7-CF4E-4A3E-A0CD-CCB5486C639D}" destId="{77061BE3-E5FB-4B96-81F3-CD678C4F7DA8}" srcOrd="0" destOrd="0" presId="urn:microsoft.com/office/officeart/2005/8/layout/orgChart1"/>
    <dgm:cxn modelId="{12598B1C-424C-4EB7-A335-66BB12CE694D}" type="presOf" srcId="{E1919BFE-1D25-4F75-907E-01DF8278F776}" destId="{2F22D180-06F0-4A79-9B87-06A1BDE8D03F}" srcOrd="0" destOrd="0" presId="urn:microsoft.com/office/officeart/2005/8/layout/orgChart1"/>
    <dgm:cxn modelId="{0168171D-DA48-4332-8AC3-26BA931D1C24}" type="presOf" srcId="{F70E6F4A-9D4B-4065-AFD8-51E773AFDF7D}" destId="{EADBC0E0-7770-4110-B18C-D8DF12120229}" srcOrd="1" destOrd="0" presId="urn:microsoft.com/office/officeart/2005/8/layout/orgChart1"/>
    <dgm:cxn modelId="{9E519E1F-B6FF-4040-820D-D0B0E6222F11}" type="presOf" srcId="{EC1CE179-5F4D-4F6B-A812-E916C905F45F}" destId="{83B438A5-AFE0-4FC8-97DF-85F367D8DC04}" srcOrd="0" destOrd="0" presId="urn:microsoft.com/office/officeart/2005/8/layout/orgChart1"/>
    <dgm:cxn modelId="{9A0A2324-6CD1-40CC-89EE-FF8A35CD4C7B}" type="presOf" srcId="{6627D59C-C2E7-45FC-B345-234289EEAB2F}" destId="{355F570F-04AF-41AC-B7D4-471989C451D2}" srcOrd="0" destOrd="0" presId="urn:microsoft.com/office/officeart/2005/8/layout/orgChart1"/>
    <dgm:cxn modelId="{2ED64E25-E178-4D61-B0F1-76E697EA534B}" srcId="{EC1CE179-5F4D-4F6B-A812-E916C905F45F}" destId="{BE4D7703-84DB-485F-8189-4167778C342F}" srcOrd="0" destOrd="0" parTransId="{278EAFB2-631A-40D5-AC9A-3C088C61BFEE}" sibTransId="{2959DBE9-B25E-4C8D-BCF4-78C8D7D8D122}"/>
    <dgm:cxn modelId="{374DB727-E1BB-4F46-B535-6839A66EE5D2}" type="presOf" srcId="{3C63686B-8ED4-4EAF-A926-A7D321519EF7}" destId="{41DD7839-18B7-4845-9F2E-3D621B2DE3B8}" srcOrd="0" destOrd="0" presId="urn:microsoft.com/office/officeart/2005/8/layout/orgChart1"/>
    <dgm:cxn modelId="{E6463930-C50E-403E-B73D-9FA1537285A0}" type="presOf" srcId="{58CA7CAE-89B1-4916-A459-A4FC691D5755}" destId="{2D5C7D8D-7FB5-40C7-919A-428B3AA94281}" srcOrd="0" destOrd="0" presId="urn:microsoft.com/office/officeart/2005/8/layout/orgChart1"/>
    <dgm:cxn modelId="{CF383B35-9C99-405A-8F48-ADC3BBC13FC6}" type="presOf" srcId="{1641402B-F306-459E-A7F9-9344F2FC907C}" destId="{FFED62F0-9375-4AFA-91BF-8BEB1B1DA122}" srcOrd="0" destOrd="0" presId="urn:microsoft.com/office/officeart/2005/8/layout/orgChart1"/>
    <dgm:cxn modelId="{943E2A36-FD11-48FE-8E1A-FC8E358D5103}" type="presOf" srcId="{1641402B-F306-459E-A7F9-9344F2FC907C}" destId="{5BE058EB-05D6-4F2E-BDD5-D44753170512}" srcOrd="1" destOrd="0" presId="urn:microsoft.com/office/officeart/2005/8/layout/orgChart1"/>
    <dgm:cxn modelId="{E46C3337-1C21-4392-819C-7E57E680733E}" type="presOf" srcId="{5A893572-544A-45A0-85E5-2D48C718F26B}" destId="{056404A5-ACF6-415A-BCE9-67F0D136160F}" srcOrd="0" destOrd="0" presId="urn:microsoft.com/office/officeart/2005/8/layout/orgChart1"/>
    <dgm:cxn modelId="{83F8A840-B79F-4D04-97B6-3251ABB096F8}" type="presOf" srcId="{11F2DB37-150B-487F-AC55-86872AA6AEED}" destId="{B40DAE93-61C9-47A0-84C9-D7ED35FB3137}" srcOrd="1" destOrd="0" presId="urn:microsoft.com/office/officeart/2005/8/layout/orgChart1"/>
    <dgm:cxn modelId="{6C60B940-906F-4E54-BCC3-4BB48AFD17F8}" srcId="{624BE7EB-247D-4A94-BA60-C2724944C775}" destId="{EC1CE179-5F4D-4F6B-A812-E916C905F45F}" srcOrd="3" destOrd="0" parTransId="{9E8BAD73-7156-4331-AA4C-84F5FEC080EB}" sibTransId="{B797EC2A-AC7D-4520-8CBD-1E843CAFC002}"/>
    <dgm:cxn modelId="{D1881A5C-B898-4DEC-A7C1-98AA3C22D6AB}" type="presOf" srcId="{EC1CE179-5F4D-4F6B-A812-E916C905F45F}" destId="{6D97FDCD-F4EB-47B0-AF36-169AF1CA3E79}" srcOrd="1" destOrd="0" presId="urn:microsoft.com/office/officeart/2005/8/layout/orgChart1"/>
    <dgm:cxn modelId="{5698CC5D-CA55-475E-9570-CE6431B3637D}" type="presOf" srcId="{56F2BEDC-6F29-40A2-BF58-B4DA831D31C2}" destId="{B7D8D6FD-2171-4A20-AEFF-67F427BCDA72}" srcOrd="1" destOrd="0" presId="urn:microsoft.com/office/officeart/2005/8/layout/orgChart1"/>
    <dgm:cxn modelId="{83B7AA46-5657-4497-993A-DC872D5BAD6A}" type="presOf" srcId="{9E8BAD73-7156-4331-AA4C-84F5FEC080EB}" destId="{2BBE26A0-FE86-430F-A39B-9FC07F018648}" srcOrd="0" destOrd="0" presId="urn:microsoft.com/office/officeart/2005/8/layout/orgChart1"/>
    <dgm:cxn modelId="{74002168-8B4B-4A84-9BE2-D638E82BF765}" type="presOf" srcId="{B04E86EB-9513-4166-B7E5-639EB6909CCD}" destId="{E81D85D6-A20F-43A1-87C2-1FF575E58303}" srcOrd="0" destOrd="0" presId="urn:microsoft.com/office/officeart/2005/8/layout/orgChart1"/>
    <dgm:cxn modelId="{26B8B048-065B-43F0-8800-FA5C502D312B}" srcId="{624BE7EB-247D-4A94-BA60-C2724944C775}" destId="{56F2BEDC-6F29-40A2-BF58-B4DA831D31C2}" srcOrd="5" destOrd="0" parTransId="{6627D59C-C2E7-45FC-B345-234289EEAB2F}" sibTransId="{E4EEFAE2-AF51-4E4B-A0C3-AC6E8BFA0779}"/>
    <dgm:cxn modelId="{D8B6E64C-623E-4928-B494-4A83594E461E}" type="presOf" srcId="{62E37BD9-60A9-47D6-A0FA-F07C1ABA491C}" destId="{59F7C7B8-92CB-4772-9BFE-1513F5F1514A}" srcOrd="1" destOrd="0" presId="urn:microsoft.com/office/officeart/2005/8/layout/orgChart1"/>
    <dgm:cxn modelId="{6F80EB6C-AD92-41AC-91D2-3B1FA550A624}" type="presOf" srcId="{624BE7EB-247D-4A94-BA60-C2724944C775}" destId="{6524178B-3A16-4893-A870-E4AA1235953E}" srcOrd="0" destOrd="0" presId="urn:microsoft.com/office/officeart/2005/8/layout/orgChart1"/>
    <dgm:cxn modelId="{BA5A214D-53FD-4309-A678-21E8BB349212}" type="presOf" srcId="{76CA3038-55EB-4713-B871-CAA0E3CBE0C1}" destId="{01327F79-C7CD-4FE5-96E7-CB925A108935}" srcOrd="0" destOrd="0" presId="urn:microsoft.com/office/officeart/2005/8/layout/orgChart1"/>
    <dgm:cxn modelId="{E6F60870-7EC2-496E-A786-3B1FAFC2DFFD}" type="presOf" srcId="{BE4D7703-84DB-485F-8189-4167778C342F}" destId="{B220D50F-23F1-4F57-85A5-0C5CB47DFCBF}" srcOrd="0" destOrd="0" presId="urn:microsoft.com/office/officeart/2005/8/layout/orgChart1"/>
    <dgm:cxn modelId="{425A2876-429E-4531-9A51-134BC11097C4}" type="presOf" srcId="{39C36526-2F26-493E-A4CA-2D95CFE261E8}" destId="{01A05628-C9C6-431E-8A03-CADF1A277206}" srcOrd="0" destOrd="0" presId="urn:microsoft.com/office/officeart/2005/8/layout/orgChart1"/>
    <dgm:cxn modelId="{393BCC76-0F58-4498-AFB7-D5A0CE5CF0C6}" type="presOf" srcId="{F5FC4D9F-67B9-4637-86BC-E27A820F50B5}" destId="{A4731E05-9219-4D24-A3B4-CCB9510DA320}" srcOrd="1" destOrd="0" presId="urn:microsoft.com/office/officeart/2005/8/layout/orgChart1"/>
    <dgm:cxn modelId="{7A9A337A-A112-44D0-AEA3-A99865D0640A}" type="presOf" srcId="{164D5775-828C-4B4F-80D0-73A1BE7E3B15}" destId="{213B51C0-F5E9-4CA2-9459-6F201DC6F477}" srcOrd="0" destOrd="0" presId="urn:microsoft.com/office/officeart/2005/8/layout/orgChart1"/>
    <dgm:cxn modelId="{BECA8785-0B32-496A-8BAA-CE9A15FDA309}" type="presOf" srcId="{62E37BD9-60A9-47D6-A0FA-F07C1ABA491C}" destId="{EA0AC095-C614-4F3E-97EA-AB38B9438A2F}" srcOrd="0" destOrd="0" presId="urn:microsoft.com/office/officeart/2005/8/layout/orgChart1"/>
    <dgm:cxn modelId="{198CC188-18EE-4E56-9EFA-AD59814B2317}" type="presOf" srcId="{11F2DB37-150B-487F-AC55-86872AA6AEED}" destId="{AA84B735-EDFC-4E8C-BA50-D5E76F608F2A}" srcOrd="0" destOrd="0" presId="urn:microsoft.com/office/officeart/2005/8/layout/orgChart1"/>
    <dgm:cxn modelId="{35F87389-7144-4E63-BA05-CCCDA24BEA87}" type="presOf" srcId="{47A4EA3A-1755-40AF-8579-E580C01E752E}" destId="{4C35B38F-2E55-46B2-A73C-E75DB337D06E}" srcOrd="0" destOrd="0" presId="urn:microsoft.com/office/officeart/2005/8/layout/orgChart1"/>
    <dgm:cxn modelId="{EB7B858A-C4EB-4233-BCDF-174BB1A9DB86}" srcId="{F70E6F4A-9D4B-4065-AFD8-51E773AFDF7D}" destId="{383E8C05-3809-4794-A982-35BE0E1D83A7}" srcOrd="1" destOrd="0" parTransId="{39C36526-2F26-493E-A4CA-2D95CFE261E8}" sibTransId="{0DFD7F81-428A-4A90-80D4-771EEACD6874}"/>
    <dgm:cxn modelId="{03D3BA8E-7B02-4D7A-A3B1-B504B8403EAE}" srcId="{F70E6F4A-9D4B-4065-AFD8-51E773AFDF7D}" destId="{1641402B-F306-459E-A7F9-9344F2FC907C}" srcOrd="0" destOrd="0" parTransId="{E4C934E9-0E2A-4215-A9D5-A6DD00565D8C}" sibTransId="{DB7DF7D3-C0F1-455E-81D8-E50D45E7E5C1}"/>
    <dgm:cxn modelId="{ED0E6D90-4D40-4078-8068-C5199CF7767F}" type="presOf" srcId="{E4C934E9-0E2A-4215-A9D5-A6DD00565D8C}" destId="{93D6517F-0385-49AA-8B4F-A83D4974E921}" srcOrd="0" destOrd="0" presId="urn:microsoft.com/office/officeart/2005/8/layout/orgChart1"/>
    <dgm:cxn modelId="{BBA24E91-72F2-4BDB-A43D-D7DA91A5F9B5}" type="presOf" srcId="{6B0B3CF7-CF4E-4A3E-A0CD-CCB5486C639D}" destId="{720FDF6E-8B3B-4592-9C71-F51E65843144}" srcOrd="1" destOrd="0" presId="urn:microsoft.com/office/officeart/2005/8/layout/orgChart1"/>
    <dgm:cxn modelId="{22C6EB93-3D0C-4A3F-B8DD-38D75EDF6B1E}" srcId="{624BE7EB-247D-4A94-BA60-C2724944C775}" destId="{F70E6F4A-9D4B-4065-AFD8-51E773AFDF7D}" srcOrd="0" destOrd="0" parTransId="{5A893572-544A-45A0-85E5-2D48C718F26B}" sibTransId="{C9C827CA-8C75-4B1A-A7CC-886B19FA5054}"/>
    <dgm:cxn modelId="{4A320F94-DF1A-4717-8F6C-18C4C79BC0C1}" srcId="{56F2BEDC-6F29-40A2-BF58-B4DA831D31C2}" destId="{6B0B3CF7-CF4E-4A3E-A0CD-CCB5486C639D}" srcOrd="0" destOrd="0" parTransId="{3C63686B-8ED4-4EAF-A926-A7D321519EF7}" sibTransId="{D4B59249-7B54-4720-A780-A958A1821E1D}"/>
    <dgm:cxn modelId="{CD00569F-3EFD-4345-8DD7-34A37B849E8C}" type="presOf" srcId="{624BE7EB-247D-4A94-BA60-C2724944C775}" destId="{D80CB1C1-51AB-49BB-8763-05001619CBCC}" srcOrd="1" destOrd="0" presId="urn:microsoft.com/office/officeart/2005/8/layout/orgChart1"/>
    <dgm:cxn modelId="{B9866CA7-A9B7-4C61-A59E-6DFA7E7FAEE2}" srcId="{F5FC4D9F-67B9-4637-86BC-E27A820F50B5}" destId="{B04E86EB-9513-4166-B7E5-639EB6909CCD}" srcOrd="0" destOrd="0" parTransId="{67537E58-EDD0-456D-9605-7AE0AE41165A}" sibTransId="{E2CA3DB3-AB9E-4857-9B18-FD8FFF88A90D}"/>
    <dgm:cxn modelId="{CF983CA8-0877-405F-B296-7829C2F63714}" type="presOf" srcId="{278EAFB2-631A-40D5-AC9A-3C088C61BFEE}" destId="{AA3AB343-DBF8-409D-AE04-F7510D1F7BCD}" srcOrd="0" destOrd="0" presId="urn:microsoft.com/office/officeart/2005/8/layout/orgChart1"/>
    <dgm:cxn modelId="{7A072DB5-2058-467D-A1CE-BE6AFF0E5DBE}" type="presOf" srcId="{BE4D7703-84DB-485F-8189-4167778C342F}" destId="{033BD9A9-B932-478E-897B-05D9D9E3A2FC}" srcOrd="1" destOrd="0" presId="urn:microsoft.com/office/officeart/2005/8/layout/orgChart1"/>
    <dgm:cxn modelId="{FE4312BE-9153-4DEC-BF91-2E0EE6537ECA}" type="presOf" srcId="{164D5775-828C-4B4F-80D0-73A1BE7E3B15}" destId="{845C6207-4641-4076-BD4A-E9D2DE20BCB3}" srcOrd="1" destOrd="0" presId="urn:microsoft.com/office/officeart/2005/8/layout/orgChart1"/>
    <dgm:cxn modelId="{1F4FE4C5-7EBB-44C5-AA1F-0E36665D398A}" srcId="{624BE7EB-247D-4A94-BA60-C2724944C775}" destId="{62E37BD9-60A9-47D6-A0FA-F07C1ABA491C}" srcOrd="1" destOrd="0" parTransId="{58CA7CAE-89B1-4916-A459-A4FC691D5755}" sibTransId="{87CAEA3A-CCFF-45A4-A57C-D8E71A9E4010}"/>
    <dgm:cxn modelId="{CF3628C6-BF85-4AAE-B563-989807A687D2}" srcId="{624BE7EB-247D-4A94-BA60-C2724944C775}" destId="{F5FC4D9F-67B9-4637-86BC-E27A820F50B5}" srcOrd="2" destOrd="0" parTransId="{47A4EA3A-1755-40AF-8579-E580C01E752E}" sibTransId="{316052F3-86FD-4F5C-8AD9-7E0A9F2F9510}"/>
    <dgm:cxn modelId="{8AEFA7C9-B1F1-41F7-8875-06EEA9FC4167}" type="presOf" srcId="{B04E86EB-9513-4166-B7E5-639EB6909CCD}" destId="{0DA78D3E-FE13-44AF-9A30-B872A2970B0E}" srcOrd="1" destOrd="0" presId="urn:microsoft.com/office/officeart/2005/8/layout/orgChart1"/>
    <dgm:cxn modelId="{FFC438CC-49D7-48C4-9CA5-622CD32BE925}" type="presOf" srcId="{383E8C05-3809-4794-A982-35BE0E1D83A7}" destId="{C2F961CF-9488-40B4-A5E8-C3FE9B710635}" srcOrd="1" destOrd="0" presId="urn:microsoft.com/office/officeart/2005/8/layout/orgChart1"/>
    <dgm:cxn modelId="{5F4BF1CF-80DA-442A-BCE4-0D32A8899314}" type="presOf" srcId="{EF443320-A566-45BE-B01D-AA8427CAF550}" destId="{B9F462AB-1E1C-4B3E-8B88-843CBE440DA3}" srcOrd="0" destOrd="0" presId="urn:microsoft.com/office/officeart/2005/8/layout/orgChart1"/>
    <dgm:cxn modelId="{51663BD1-4283-46E7-BF8B-87D1A89F2B8C}" type="presOf" srcId="{F5FC4D9F-67B9-4637-86BC-E27A820F50B5}" destId="{6DCE400E-329A-4403-9FE0-81D54C72D09D}" srcOrd="0" destOrd="0" presId="urn:microsoft.com/office/officeart/2005/8/layout/orgChart1"/>
    <dgm:cxn modelId="{4E3FD8D5-45D8-4BC2-ACC4-C83682C26DE2}" srcId="{EF443320-A566-45BE-B01D-AA8427CAF550}" destId="{624BE7EB-247D-4A94-BA60-C2724944C775}" srcOrd="0" destOrd="0" parTransId="{754002BD-9FA1-4D51-A765-C5FF50BA6F72}" sibTransId="{3C01C5B4-195A-4B51-8A26-864550E3A907}"/>
    <dgm:cxn modelId="{06AFE8D9-10FB-4939-9006-9B384ED926B8}" srcId="{164D5775-828C-4B4F-80D0-73A1BE7E3B15}" destId="{11F2DB37-150B-487F-AC55-86872AA6AEED}" srcOrd="0" destOrd="0" parTransId="{8571C1E4-8618-4E0A-837F-0DE7BB0CF330}" sibTransId="{7A08EAD2-9E43-4E84-BBDD-AF5F2CC7E0FB}"/>
    <dgm:cxn modelId="{688550DB-FB1D-4106-BF29-E223BC909EC9}" type="presOf" srcId="{E1919BFE-1D25-4F75-907E-01DF8278F776}" destId="{4A7DEF4A-CA7D-432C-A666-5B5FF37BDD48}" srcOrd="1" destOrd="0" presId="urn:microsoft.com/office/officeart/2005/8/layout/orgChart1"/>
    <dgm:cxn modelId="{3084EAE0-1298-4D63-9C55-9709BA1919E5}" srcId="{62E37BD9-60A9-47D6-A0FA-F07C1ABA491C}" destId="{E1919BFE-1D25-4F75-907E-01DF8278F776}" srcOrd="0" destOrd="0" parTransId="{76CA3038-55EB-4713-B871-CAA0E3CBE0C1}" sibTransId="{5068CB0D-FA4A-41AF-9372-878E24BD5BF3}"/>
    <dgm:cxn modelId="{00B3DEE2-2941-4CB5-878B-DC74FCFB3CC7}" type="presOf" srcId="{F70E6F4A-9D4B-4065-AFD8-51E773AFDF7D}" destId="{3DF1DE0D-2B3C-464A-A64E-5BD34333B3BF}" srcOrd="0" destOrd="0" presId="urn:microsoft.com/office/officeart/2005/8/layout/orgChart1"/>
    <dgm:cxn modelId="{C5440AE8-BA7C-470D-AF3D-9CBACF4FB366}" type="presOf" srcId="{383E8C05-3809-4794-A982-35BE0E1D83A7}" destId="{35267D9E-1B25-44B5-AAF3-E6D98E68EAB1}" srcOrd="0" destOrd="0" presId="urn:microsoft.com/office/officeart/2005/8/layout/orgChart1"/>
    <dgm:cxn modelId="{A1ECFFF0-0524-43CE-A7A7-8BABADE111A5}" type="presOf" srcId="{56F2BEDC-6F29-40A2-BF58-B4DA831D31C2}" destId="{319D2089-B739-4CC2-B483-DED4DD61A5B3}" srcOrd="0" destOrd="0" presId="urn:microsoft.com/office/officeart/2005/8/layout/orgChart1"/>
    <dgm:cxn modelId="{0FA87DF7-DD8C-439A-B5C1-C14C2E73991D}" type="presOf" srcId="{67537E58-EDD0-456D-9605-7AE0AE41165A}" destId="{25CB9BF4-6066-4AD7-8A66-4556476EC99E}" srcOrd="0" destOrd="0" presId="urn:microsoft.com/office/officeart/2005/8/layout/orgChart1"/>
    <dgm:cxn modelId="{C182C7FB-22B4-486D-B565-E3D636817164}" type="presOf" srcId="{BF559517-1123-4B3F-B7D0-2F95467931C1}" destId="{01FEF4FC-33C9-42AB-BEA9-79595D5BFA18}" srcOrd="0" destOrd="0" presId="urn:microsoft.com/office/officeart/2005/8/layout/orgChart1"/>
    <dgm:cxn modelId="{8DC575FC-5BC2-425B-980C-1D05755F9E08}" type="presOf" srcId="{8571C1E4-8618-4E0A-837F-0DE7BB0CF330}" destId="{58BDBD3D-F1F5-4A9A-A114-CCD9154CF215}" srcOrd="0" destOrd="0" presId="urn:microsoft.com/office/officeart/2005/8/layout/orgChart1"/>
    <dgm:cxn modelId="{388DB259-CBAA-4DAE-914F-DED6BFA2F36D}" type="presParOf" srcId="{B9F462AB-1E1C-4B3E-8B88-843CBE440DA3}" destId="{67CDB30D-64CB-439D-91AB-A8718655536B}" srcOrd="0" destOrd="0" presId="urn:microsoft.com/office/officeart/2005/8/layout/orgChart1"/>
    <dgm:cxn modelId="{209A91EC-2053-4067-A58E-247944F0D962}" type="presParOf" srcId="{67CDB30D-64CB-439D-91AB-A8718655536B}" destId="{E852D09C-CF8E-46DF-98FA-7106E23B1BE4}" srcOrd="0" destOrd="0" presId="urn:microsoft.com/office/officeart/2005/8/layout/orgChart1"/>
    <dgm:cxn modelId="{0A606109-6D61-4FFB-89E2-5E7633CCBBE2}" type="presParOf" srcId="{E852D09C-CF8E-46DF-98FA-7106E23B1BE4}" destId="{6524178B-3A16-4893-A870-E4AA1235953E}" srcOrd="0" destOrd="0" presId="urn:microsoft.com/office/officeart/2005/8/layout/orgChart1"/>
    <dgm:cxn modelId="{75253636-4985-4DE4-8C29-91F229DE2DE2}" type="presParOf" srcId="{E852D09C-CF8E-46DF-98FA-7106E23B1BE4}" destId="{D80CB1C1-51AB-49BB-8763-05001619CBCC}" srcOrd="1" destOrd="0" presId="urn:microsoft.com/office/officeart/2005/8/layout/orgChart1"/>
    <dgm:cxn modelId="{EB8094C8-FF25-4965-9F59-A0A79F0AACFA}" type="presParOf" srcId="{67CDB30D-64CB-439D-91AB-A8718655536B}" destId="{97547E97-0A71-48D4-84CA-40BA78FC460F}" srcOrd="1" destOrd="0" presId="urn:microsoft.com/office/officeart/2005/8/layout/orgChart1"/>
    <dgm:cxn modelId="{71586FF4-DC8D-490C-9F29-8C54C406BDC2}" type="presParOf" srcId="{97547E97-0A71-48D4-84CA-40BA78FC460F}" destId="{2D5C7D8D-7FB5-40C7-919A-428B3AA94281}" srcOrd="0" destOrd="0" presId="urn:microsoft.com/office/officeart/2005/8/layout/orgChart1"/>
    <dgm:cxn modelId="{01AC2CEB-B11C-41F1-8AE8-A12BD30990D2}" type="presParOf" srcId="{97547E97-0A71-48D4-84CA-40BA78FC460F}" destId="{167D8FC7-578E-43D5-9314-E63F5B236644}" srcOrd="1" destOrd="0" presId="urn:microsoft.com/office/officeart/2005/8/layout/orgChart1"/>
    <dgm:cxn modelId="{8EE09485-F9EC-430D-A1D1-D1D19C72AFCB}" type="presParOf" srcId="{167D8FC7-578E-43D5-9314-E63F5B236644}" destId="{F80C223B-21CF-4850-99F4-78B5EE753C66}" srcOrd="0" destOrd="0" presId="urn:microsoft.com/office/officeart/2005/8/layout/orgChart1"/>
    <dgm:cxn modelId="{EEBB1F80-22B4-482A-9DBF-3E19F200D027}" type="presParOf" srcId="{F80C223B-21CF-4850-99F4-78B5EE753C66}" destId="{EA0AC095-C614-4F3E-97EA-AB38B9438A2F}" srcOrd="0" destOrd="0" presId="urn:microsoft.com/office/officeart/2005/8/layout/orgChart1"/>
    <dgm:cxn modelId="{601A32D0-7C38-460C-815E-28CBE580A012}" type="presParOf" srcId="{F80C223B-21CF-4850-99F4-78B5EE753C66}" destId="{59F7C7B8-92CB-4772-9BFE-1513F5F1514A}" srcOrd="1" destOrd="0" presId="urn:microsoft.com/office/officeart/2005/8/layout/orgChart1"/>
    <dgm:cxn modelId="{1ABE0BB9-464E-424B-9E3A-A0AFC1D8B72E}" type="presParOf" srcId="{167D8FC7-578E-43D5-9314-E63F5B236644}" destId="{66AE4122-F738-4CE0-AEEA-80BC7FBA018E}" srcOrd="1" destOrd="0" presId="urn:microsoft.com/office/officeart/2005/8/layout/orgChart1"/>
    <dgm:cxn modelId="{31A940C7-A8C7-49C6-86B3-D235B1FACD52}" type="presParOf" srcId="{66AE4122-F738-4CE0-AEEA-80BC7FBA018E}" destId="{01327F79-C7CD-4FE5-96E7-CB925A108935}" srcOrd="0" destOrd="0" presId="urn:microsoft.com/office/officeart/2005/8/layout/orgChart1"/>
    <dgm:cxn modelId="{81F356E4-B1AB-46FE-ADBC-3BB4E2BD35F3}" type="presParOf" srcId="{66AE4122-F738-4CE0-AEEA-80BC7FBA018E}" destId="{A079B453-C1DC-4CE1-A4C0-61E218EFB953}" srcOrd="1" destOrd="0" presId="urn:microsoft.com/office/officeart/2005/8/layout/orgChart1"/>
    <dgm:cxn modelId="{C0B33133-05A4-4F8D-8672-937F8638AEF4}" type="presParOf" srcId="{A079B453-C1DC-4CE1-A4C0-61E218EFB953}" destId="{74BEB311-9725-47B5-B21A-22F6D4977B6C}" srcOrd="0" destOrd="0" presId="urn:microsoft.com/office/officeart/2005/8/layout/orgChart1"/>
    <dgm:cxn modelId="{DBBCD438-0C31-4184-B71B-8414A4EC168D}" type="presParOf" srcId="{74BEB311-9725-47B5-B21A-22F6D4977B6C}" destId="{2F22D180-06F0-4A79-9B87-06A1BDE8D03F}" srcOrd="0" destOrd="0" presId="urn:microsoft.com/office/officeart/2005/8/layout/orgChart1"/>
    <dgm:cxn modelId="{5C59248D-70D3-4F3B-A1E6-3E6A44630785}" type="presParOf" srcId="{74BEB311-9725-47B5-B21A-22F6D4977B6C}" destId="{4A7DEF4A-CA7D-432C-A666-5B5FF37BDD48}" srcOrd="1" destOrd="0" presId="urn:microsoft.com/office/officeart/2005/8/layout/orgChart1"/>
    <dgm:cxn modelId="{B55C5683-BB1C-4E1C-8397-D9E67299D846}" type="presParOf" srcId="{A079B453-C1DC-4CE1-A4C0-61E218EFB953}" destId="{D8DC22D9-BC4D-48EC-8DE6-E29775838735}" srcOrd="1" destOrd="0" presId="urn:microsoft.com/office/officeart/2005/8/layout/orgChart1"/>
    <dgm:cxn modelId="{6CA8A74A-38CC-4EEB-8482-EBB626B9E2B0}" type="presParOf" srcId="{A079B453-C1DC-4CE1-A4C0-61E218EFB953}" destId="{9B2DE8FF-ACD5-4B45-A36E-7DDF8D747A15}" srcOrd="2" destOrd="0" presId="urn:microsoft.com/office/officeart/2005/8/layout/orgChart1"/>
    <dgm:cxn modelId="{08605ACF-7734-4345-A366-E973088C2FCC}" type="presParOf" srcId="{167D8FC7-578E-43D5-9314-E63F5B236644}" destId="{FF002198-4415-4E9C-A5C6-F50D8287A23B}" srcOrd="2" destOrd="0" presId="urn:microsoft.com/office/officeart/2005/8/layout/orgChart1"/>
    <dgm:cxn modelId="{39363D24-3352-4384-B6D6-AB40FFB3F8CA}" type="presParOf" srcId="{97547E97-0A71-48D4-84CA-40BA78FC460F}" destId="{4C35B38F-2E55-46B2-A73C-E75DB337D06E}" srcOrd="2" destOrd="0" presId="urn:microsoft.com/office/officeart/2005/8/layout/orgChart1"/>
    <dgm:cxn modelId="{1609F276-D944-43CB-89FF-19BE3AE340C2}" type="presParOf" srcId="{97547E97-0A71-48D4-84CA-40BA78FC460F}" destId="{BD022669-AC5A-4088-827A-D3A223D118E2}" srcOrd="3" destOrd="0" presId="urn:microsoft.com/office/officeart/2005/8/layout/orgChart1"/>
    <dgm:cxn modelId="{C5F27065-CF2B-4D50-8A0D-5223E8A12E29}" type="presParOf" srcId="{BD022669-AC5A-4088-827A-D3A223D118E2}" destId="{E4D22FB4-B098-4DD8-B2F2-55378816AF08}" srcOrd="0" destOrd="0" presId="urn:microsoft.com/office/officeart/2005/8/layout/orgChart1"/>
    <dgm:cxn modelId="{A4FECA5D-6DA6-4643-A906-BB31E6933D1C}" type="presParOf" srcId="{E4D22FB4-B098-4DD8-B2F2-55378816AF08}" destId="{6DCE400E-329A-4403-9FE0-81D54C72D09D}" srcOrd="0" destOrd="0" presId="urn:microsoft.com/office/officeart/2005/8/layout/orgChart1"/>
    <dgm:cxn modelId="{C2B2FD21-771D-4E23-B5B7-5F87517CB4B5}" type="presParOf" srcId="{E4D22FB4-B098-4DD8-B2F2-55378816AF08}" destId="{A4731E05-9219-4D24-A3B4-CCB9510DA320}" srcOrd="1" destOrd="0" presId="urn:microsoft.com/office/officeart/2005/8/layout/orgChart1"/>
    <dgm:cxn modelId="{EB92C699-CC2B-4720-8AE9-D86848E0FFC2}" type="presParOf" srcId="{BD022669-AC5A-4088-827A-D3A223D118E2}" destId="{CEE6A6A1-3B6C-4BF9-8E09-181093A63FC0}" srcOrd="1" destOrd="0" presId="urn:microsoft.com/office/officeart/2005/8/layout/orgChart1"/>
    <dgm:cxn modelId="{6A313249-2C93-4768-B5AF-FB1DB0048AC7}" type="presParOf" srcId="{CEE6A6A1-3B6C-4BF9-8E09-181093A63FC0}" destId="{25CB9BF4-6066-4AD7-8A66-4556476EC99E}" srcOrd="0" destOrd="0" presId="urn:microsoft.com/office/officeart/2005/8/layout/orgChart1"/>
    <dgm:cxn modelId="{E04FCB6A-D140-4E90-9156-0C2FFE1B38BF}" type="presParOf" srcId="{CEE6A6A1-3B6C-4BF9-8E09-181093A63FC0}" destId="{161AC284-F199-4DBD-A4DE-1C639DD2A4D7}" srcOrd="1" destOrd="0" presId="urn:microsoft.com/office/officeart/2005/8/layout/orgChart1"/>
    <dgm:cxn modelId="{6B548EA9-6566-44C3-A2B0-843A05AE0DA8}" type="presParOf" srcId="{161AC284-F199-4DBD-A4DE-1C639DD2A4D7}" destId="{C3A53B2C-2DBF-4FB8-B90F-6BC4DD726E66}" srcOrd="0" destOrd="0" presId="urn:microsoft.com/office/officeart/2005/8/layout/orgChart1"/>
    <dgm:cxn modelId="{C04F7EBB-3DA5-47DC-A052-0551EC9642D5}" type="presParOf" srcId="{C3A53B2C-2DBF-4FB8-B90F-6BC4DD726E66}" destId="{E81D85D6-A20F-43A1-87C2-1FF575E58303}" srcOrd="0" destOrd="0" presId="urn:microsoft.com/office/officeart/2005/8/layout/orgChart1"/>
    <dgm:cxn modelId="{865AC907-3809-4603-82A6-B3C7A5C31D96}" type="presParOf" srcId="{C3A53B2C-2DBF-4FB8-B90F-6BC4DD726E66}" destId="{0DA78D3E-FE13-44AF-9A30-B872A2970B0E}" srcOrd="1" destOrd="0" presId="urn:microsoft.com/office/officeart/2005/8/layout/orgChart1"/>
    <dgm:cxn modelId="{D6D90D6E-6F01-43E9-B1F1-C630D11949D0}" type="presParOf" srcId="{161AC284-F199-4DBD-A4DE-1C639DD2A4D7}" destId="{63FFC2D7-06CB-4F4C-AE8A-C73319DBA168}" srcOrd="1" destOrd="0" presId="urn:microsoft.com/office/officeart/2005/8/layout/orgChart1"/>
    <dgm:cxn modelId="{07EF275E-AFCA-4DC7-BC10-C231F71A917A}" type="presParOf" srcId="{161AC284-F199-4DBD-A4DE-1C639DD2A4D7}" destId="{87B5529B-BE84-4591-A5AD-20B04E2A593E}" srcOrd="2" destOrd="0" presId="urn:microsoft.com/office/officeart/2005/8/layout/orgChart1"/>
    <dgm:cxn modelId="{9481000B-86B6-47A7-933F-D4F6402A0FBA}" type="presParOf" srcId="{BD022669-AC5A-4088-827A-D3A223D118E2}" destId="{56BB17A3-C778-49A6-A225-010CD1578CE3}" srcOrd="2" destOrd="0" presId="urn:microsoft.com/office/officeart/2005/8/layout/orgChart1"/>
    <dgm:cxn modelId="{4152F8A4-890A-419B-84F4-C0B3E5A0A43B}" type="presParOf" srcId="{97547E97-0A71-48D4-84CA-40BA78FC460F}" destId="{2BBE26A0-FE86-430F-A39B-9FC07F018648}" srcOrd="4" destOrd="0" presId="urn:microsoft.com/office/officeart/2005/8/layout/orgChart1"/>
    <dgm:cxn modelId="{BEB52F3A-51D7-4040-BF90-C9149B5A48E3}" type="presParOf" srcId="{97547E97-0A71-48D4-84CA-40BA78FC460F}" destId="{D1973F09-790C-4162-8719-06342FBFE0E5}" srcOrd="5" destOrd="0" presId="urn:microsoft.com/office/officeart/2005/8/layout/orgChart1"/>
    <dgm:cxn modelId="{5BD5034F-1401-4786-A649-BC74D110A22F}" type="presParOf" srcId="{D1973F09-790C-4162-8719-06342FBFE0E5}" destId="{0140AAB0-2BCA-4693-B685-20BDA9AD94E4}" srcOrd="0" destOrd="0" presId="urn:microsoft.com/office/officeart/2005/8/layout/orgChart1"/>
    <dgm:cxn modelId="{E6A58B1C-5EC2-46F1-8C37-9F079CB96637}" type="presParOf" srcId="{0140AAB0-2BCA-4693-B685-20BDA9AD94E4}" destId="{83B438A5-AFE0-4FC8-97DF-85F367D8DC04}" srcOrd="0" destOrd="0" presId="urn:microsoft.com/office/officeart/2005/8/layout/orgChart1"/>
    <dgm:cxn modelId="{A95E73BA-CBCB-4CF1-A370-D406397DDF43}" type="presParOf" srcId="{0140AAB0-2BCA-4693-B685-20BDA9AD94E4}" destId="{6D97FDCD-F4EB-47B0-AF36-169AF1CA3E79}" srcOrd="1" destOrd="0" presId="urn:microsoft.com/office/officeart/2005/8/layout/orgChart1"/>
    <dgm:cxn modelId="{3B1FB739-A93A-4D87-86B1-622DD3C06B4A}" type="presParOf" srcId="{D1973F09-790C-4162-8719-06342FBFE0E5}" destId="{759978FE-E160-4AB1-B8CE-A8DDB47637C7}" srcOrd="1" destOrd="0" presId="urn:microsoft.com/office/officeart/2005/8/layout/orgChart1"/>
    <dgm:cxn modelId="{6C9A81B2-5EB1-4754-84D2-52292177C5E9}" type="presParOf" srcId="{759978FE-E160-4AB1-B8CE-A8DDB47637C7}" destId="{AA3AB343-DBF8-409D-AE04-F7510D1F7BCD}" srcOrd="0" destOrd="0" presId="urn:microsoft.com/office/officeart/2005/8/layout/orgChart1"/>
    <dgm:cxn modelId="{FED1058D-9798-4A6A-B7E8-ABC7680FAB61}" type="presParOf" srcId="{759978FE-E160-4AB1-B8CE-A8DDB47637C7}" destId="{22559A6F-2C15-4FEB-B847-2E3C0B391E3F}" srcOrd="1" destOrd="0" presId="urn:microsoft.com/office/officeart/2005/8/layout/orgChart1"/>
    <dgm:cxn modelId="{00CD2A4F-8E5C-4670-8277-22A3AFF3C893}" type="presParOf" srcId="{22559A6F-2C15-4FEB-B847-2E3C0B391E3F}" destId="{4E1AC43C-E7F3-4797-A217-D9987AA77FC1}" srcOrd="0" destOrd="0" presId="urn:microsoft.com/office/officeart/2005/8/layout/orgChart1"/>
    <dgm:cxn modelId="{3214802B-B3C7-45E1-BDB7-3C62AE7A711F}" type="presParOf" srcId="{4E1AC43C-E7F3-4797-A217-D9987AA77FC1}" destId="{B220D50F-23F1-4F57-85A5-0C5CB47DFCBF}" srcOrd="0" destOrd="0" presId="urn:microsoft.com/office/officeart/2005/8/layout/orgChart1"/>
    <dgm:cxn modelId="{29521B95-2063-4C7D-B5B1-8A0371C3CE8F}" type="presParOf" srcId="{4E1AC43C-E7F3-4797-A217-D9987AA77FC1}" destId="{033BD9A9-B932-478E-897B-05D9D9E3A2FC}" srcOrd="1" destOrd="0" presId="urn:microsoft.com/office/officeart/2005/8/layout/orgChart1"/>
    <dgm:cxn modelId="{230EC013-0B50-4F81-B199-A0E3FD665BA4}" type="presParOf" srcId="{22559A6F-2C15-4FEB-B847-2E3C0B391E3F}" destId="{C66F6009-4647-4B4B-B9C5-9D2566ED2AB0}" srcOrd="1" destOrd="0" presId="urn:microsoft.com/office/officeart/2005/8/layout/orgChart1"/>
    <dgm:cxn modelId="{66FF593C-F8FB-417A-8FA2-4E793685C037}" type="presParOf" srcId="{22559A6F-2C15-4FEB-B847-2E3C0B391E3F}" destId="{01899D05-AFEB-4876-B509-FE7211FC8698}" srcOrd="2" destOrd="0" presId="urn:microsoft.com/office/officeart/2005/8/layout/orgChart1"/>
    <dgm:cxn modelId="{0D9215C1-1961-404E-A219-26A1013FE8A4}" type="presParOf" srcId="{D1973F09-790C-4162-8719-06342FBFE0E5}" destId="{54E49008-3C7C-46E4-B876-FD26C650DC32}" srcOrd="2" destOrd="0" presId="urn:microsoft.com/office/officeart/2005/8/layout/orgChart1"/>
    <dgm:cxn modelId="{DC11080D-1962-458C-AE34-6E3AE9C81D0F}" type="presParOf" srcId="{97547E97-0A71-48D4-84CA-40BA78FC460F}" destId="{01FEF4FC-33C9-42AB-BEA9-79595D5BFA18}" srcOrd="6" destOrd="0" presId="urn:microsoft.com/office/officeart/2005/8/layout/orgChart1"/>
    <dgm:cxn modelId="{17D155D8-540B-4866-A0D9-6F7FBEF3E8C3}" type="presParOf" srcId="{97547E97-0A71-48D4-84CA-40BA78FC460F}" destId="{027292D2-5120-41D2-8DFC-BBE5DE29CFE5}" srcOrd="7" destOrd="0" presId="urn:microsoft.com/office/officeart/2005/8/layout/orgChart1"/>
    <dgm:cxn modelId="{0C9BD9C7-4C7A-466D-A9F0-458EA49AB257}" type="presParOf" srcId="{027292D2-5120-41D2-8DFC-BBE5DE29CFE5}" destId="{69C1F6A8-489C-4473-A6A6-17C6E78E06B3}" srcOrd="0" destOrd="0" presId="urn:microsoft.com/office/officeart/2005/8/layout/orgChart1"/>
    <dgm:cxn modelId="{13D024DB-2B52-4006-B2FF-A1415B5C5373}" type="presParOf" srcId="{69C1F6A8-489C-4473-A6A6-17C6E78E06B3}" destId="{213B51C0-F5E9-4CA2-9459-6F201DC6F477}" srcOrd="0" destOrd="0" presId="urn:microsoft.com/office/officeart/2005/8/layout/orgChart1"/>
    <dgm:cxn modelId="{C1A4FD7C-952A-4955-AED0-6167ADEE3ABE}" type="presParOf" srcId="{69C1F6A8-489C-4473-A6A6-17C6E78E06B3}" destId="{845C6207-4641-4076-BD4A-E9D2DE20BCB3}" srcOrd="1" destOrd="0" presId="urn:microsoft.com/office/officeart/2005/8/layout/orgChart1"/>
    <dgm:cxn modelId="{F55E4E89-2E4A-4D96-9493-9E1188921C96}" type="presParOf" srcId="{027292D2-5120-41D2-8DFC-BBE5DE29CFE5}" destId="{4F458BD7-81DD-4675-95B0-8E32C71AAE52}" srcOrd="1" destOrd="0" presId="urn:microsoft.com/office/officeart/2005/8/layout/orgChart1"/>
    <dgm:cxn modelId="{3E4CE345-FC49-4BB9-9483-D44C5F5D5061}" type="presParOf" srcId="{4F458BD7-81DD-4675-95B0-8E32C71AAE52}" destId="{58BDBD3D-F1F5-4A9A-A114-CCD9154CF215}" srcOrd="0" destOrd="0" presId="urn:microsoft.com/office/officeart/2005/8/layout/orgChart1"/>
    <dgm:cxn modelId="{1715D280-62FD-43AE-8653-C66F73783FBC}" type="presParOf" srcId="{4F458BD7-81DD-4675-95B0-8E32C71AAE52}" destId="{73C9C141-6898-46FD-80C4-FE3EB16E1E07}" srcOrd="1" destOrd="0" presId="urn:microsoft.com/office/officeart/2005/8/layout/orgChart1"/>
    <dgm:cxn modelId="{A2C8FE78-B335-4193-A4D9-A6EFEE7E7619}" type="presParOf" srcId="{73C9C141-6898-46FD-80C4-FE3EB16E1E07}" destId="{08611DB8-86DF-498D-905F-EC04F42D896E}" srcOrd="0" destOrd="0" presId="urn:microsoft.com/office/officeart/2005/8/layout/orgChart1"/>
    <dgm:cxn modelId="{F3875FC8-3C03-4433-A866-082E29FEFFB4}" type="presParOf" srcId="{08611DB8-86DF-498D-905F-EC04F42D896E}" destId="{AA84B735-EDFC-4E8C-BA50-D5E76F608F2A}" srcOrd="0" destOrd="0" presId="urn:microsoft.com/office/officeart/2005/8/layout/orgChart1"/>
    <dgm:cxn modelId="{AC1E1DEC-19B4-4BC9-A723-47C47A12AE47}" type="presParOf" srcId="{08611DB8-86DF-498D-905F-EC04F42D896E}" destId="{B40DAE93-61C9-47A0-84C9-D7ED35FB3137}" srcOrd="1" destOrd="0" presId="urn:microsoft.com/office/officeart/2005/8/layout/orgChart1"/>
    <dgm:cxn modelId="{A8A6D828-ACE5-4274-9CBB-82D17FD32A35}" type="presParOf" srcId="{73C9C141-6898-46FD-80C4-FE3EB16E1E07}" destId="{36A88CE2-7963-4197-9C58-8DC58B46EB3E}" srcOrd="1" destOrd="0" presId="urn:microsoft.com/office/officeart/2005/8/layout/orgChart1"/>
    <dgm:cxn modelId="{9EA38491-C798-482E-9A54-F19934E57DD5}" type="presParOf" srcId="{73C9C141-6898-46FD-80C4-FE3EB16E1E07}" destId="{53912CE0-2758-4671-8D4D-AB316AAF5D2C}" srcOrd="2" destOrd="0" presId="urn:microsoft.com/office/officeart/2005/8/layout/orgChart1"/>
    <dgm:cxn modelId="{33CDBCA3-922D-4E5E-A8D1-D976DB5937CC}" type="presParOf" srcId="{027292D2-5120-41D2-8DFC-BBE5DE29CFE5}" destId="{5F6A61DA-5EF6-4651-9912-C5AC0F998941}" srcOrd="2" destOrd="0" presId="urn:microsoft.com/office/officeart/2005/8/layout/orgChart1"/>
    <dgm:cxn modelId="{2EAC1C83-B7C5-4A02-B5EC-21270D4D9685}" type="presParOf" srcId="{97547E97-0A71-48D4-84CA-40BA78FC460F}" destId="{355F570F-04AF-41AC-B7D4-471989C451D2}" srcOrd="8" destOrd="0" presId="urn:microsoft.com/office/officeart/2005/8/layout/orgChart1"/>
    <dgm:cxn modelId="{251DD0DB-A3DE-4117-BEC0-7F8A4CAE863D}" type="presParOf" srcId="{97547E97-0A71-48D4-84CA-40BA78FC460F}" destId="{9F20AE73-2819-4804-A216-A6A70A879452}" srcOrd="9" destOrd="0" presId="urn:microsoft.com/office/officeart/2005/8/layout/orgChart1"/>
    <dgm:cxn modelId="{9ECBCDFC-4148-4BCA-A111-F1C5F4D05D6D}" type="presParOf" srcId="{9F20AE73-2819-4804-A216-A6A70A879452}" destId="{FD2442DA-E520-414B-A8DE-826BAE7B6878}" srcOrd="0" destOrd="0" presId="urn:microsoft.com/office/officeart/2005/8/layout/orgChart1"/>
    <dgm:cxn modelId="{C007ECC5-E8B0-4B43-831A-DDD86937432C}" type="presParOf" srcId="{FD2442DA-E520-414B-A8DE-826BAE7B6878}" destId="{319D2089-B739-4CC2-B483-DED4DD61A5B3}" srcOrd="0" destOrd="0" presId="urn:microsoft.com/office/officeart/2005/8/layout/orgChart1"/>
    <dgm:cxn modelId="{84D59A12-3A4C-491E-9614-745E8D3693DC}" type="presParOf" srcId="{FD2442DA-E520-414B-A8DE-826BAE7B6878}" destId="{B7D8D6FD-2171-4A20-AEFF-67F427BCDA72}" srcOrd="1" destOrd="0" presId="urn:microsoft.com/office/officeart/2005/8/layout/orgChart1"/>
    <dgm:cxn modelId="{28CCC054-6893-4CB3-9AD3-82FC5476DFD8}" type="presParOf" srcId="{9F20AE73-2819-4804-A216-A6A70A879452}" destId="{FEF71179-16D1-4D92-95A5-890116CF2795}" srcOrd="1" destOrd="0" presId="urn:microsoft.com/office/officeart/2005/8/layout/orgChart1"/>
    <dgm:cxn modelId="{6EF508E6-D773-4A81-961C-88C0D632A140}" type="presParOf" srcId="{FEF71179-16D1-4D92-95A5-890116CF2795}" destId="{41DD7839-18B7-4845-9F2E-3D621B2DE3B8}" srcOrd="0" destOrd="0" presId="urn:microsoft.com/office/officeart/2005/8/layout/orgChart1"/>
    <dgm:cxn modelId="{AA11AC56-E97E-4378-8116-110B6AB38327}" type="presParOf" srcId="{FEF71179-16D1-4D92-95A5-890116CF2795}" destId="{C5E24D7C-BA8F-424A-99DA-998D58E9E75F}" srcOrd="1" destOrd="0" presId="urn:microsoft.com/office/officeart/2005/8/layout/orgChart1"/>
    <dgm:cxn modelId="{82679A5C-D4C4-413A-9423-0B6619FFEAD6}" type="presParOf" srcId="{C5E24D7C-BA8F-424A-99DA-998D58E9E75F}" destId="{1391E6C1-66D5-4935-BEDE-D5EE195B364F}" srcOrd="0" destOrd="0" presId="urn:microsoft.com/office/officeart/2005/8/layout/orgChart1"/>
    <dgm:cxn modelId="{731E36B3-1B19-428C-9C8F-DBC75CD422F1}" type="presParOf" srcId="{1391E6C1-66D5-4935-BEDE-D5EE195B364F}" destId="{77061BE3-E5FB-4B96-81F3-CD678C4F7DA8}" srcOrd="0" destOrd="0" presId="urn:microsoft.com/office/officeart/2005/8/layout/orgChart1"/>
    <dgm:cxn modelId="{C32CF9B0-7014-4841-95E5-71FC47BC917D}" type="presParOf" srcId="{1391E6C1-66D5-4935-BEDE-D5EE195B364F}" destId="{720FDF6E-8B3B-4592-9C71-F51E65843144}" srcOrd="1" destOrd="0" presId="urn:microsoft.com/office/officeart/2005/8/layout/orgChart1"/>
    <dgm:cxn modelId="{37752953-B431-4F7C-B648-155D14554C61}" type="presParOf" srcId="{C5E24D7C-BA8F-424A-99DA-998D58E9E75F}" destId="{E80E7C5F-FA02-405B-BE4A-B6B46EA85F1A}" srcOrd="1" destOrd="0" presId="urn:microsoft.com/office/officeart/2005/8/layout/orgChart1"/>
    <dgm:cxn modelId="{4A35C742-EFCA-421D-B2E7-B3C8BEE3D812}" type="presParOf" srcId="{C5E24D7C-BA8F-424A-99DA-998D58E9E75F}" destId="{B666923E-71BD-48CA-A02B-A795B7D72ED2}" srcOrd="2" destOrd="0" presId="urn:microsoft.com/office/officeart/2005/8/layout/orgChart1"/>
    <dgm:cxn modelId="{0A16F78F-E071-4C7E-AA0B-261B4CD54DF2}" type="presParOf" srcId="{9F20AE73-2819-4804-A216-A6A70A879452}" destId="{50C9781C-FE4C-4F4F-95CA-41EE7876917F}" srcOrd="2" destOrd="0" presId="urn:microsoft.com/office/officeart/2005/8/layout/orgChart1"/>
    <dgm:cxn modelId="{EEAE1B85-F21C-4897-BED0-89E575775C5B}" type="presParOf" srcId="{67CDB30D-64CB-439D-91AB-A8718655536B}" destId="{C718BF62-25B7-4306-97C7-E68AA4A243A1}" srcOrd="2" destOrd="0" presId="urn:microsoft.com/office/officeart/2005/8/layout/orgChart1"/>
    <dgm:cxn modelId="{4097FBBA-7BC8-49A7-AB15-22680765C827}" type="presParOf" srcId="{C718BF62-25B7-4306-97C7-E68AA4A243A1}" destId="{056404A5-ACF6-415A-BCE9-67F0D136160F}" srcOrd="0" destOrd="0" presId="urn:microsoft.com/office/officeart/2005/8/layout/orgChart1"/>
    <dgm:cxn modelId="{77EA0003-94C7-4319-B801-9F06C87A59AD}" type="presParOf" srcId="{C718BF62-25B7-4306-97C7-E68AA4A243A1}" destId="{D1AE3956-155B-4C12-9772-57F65C33D8E4}" srcOrd="1" destOrd="0" presId="urn:microsoft.com/office/officeart/2005/8/layout/orgChart1"/>
    <dgm:cxn modelId="{44F13E35-DEF3-4A5D-AAD2-74C33B9ADD66}" type="presParOf" srcId="{D1AE3956-155B-4C12-9772-57F65C33D8E4}" destId="{08A36373-6093-4042-A0DC-C1E9E8F206A3}" srcOrd="0" destOrd="0" presId="urn:microsoft.com/office/officeart/2005/8/layout/orgChart1"/>
    <dgm:cxn modelId="{700D9D63-0930-4227-84FF-78EDD482CB24}" type="presParOf" srcId="{08A36373-6093-4042-A0DC-C1E9E8F206A3}" destId="{3DF1DE0D-2B3C-464A-A64E-5BD34333B3BF}" srcOrd="0" destOrd="0" presId="urn:microsoft.com/office/officeart/2005/8/layout/orgChart1"/>
    <dgm:cxn modelId="{E63AD315-08E9-429A-8684-85D9CA2D7B55}" type="presParOf" srcId="{08A36373-6093-4042-A0DC-C1E9E8F206A3}" destId="{EADBC0E0-7770-4110-B18C-D8DF12120229}" srcOrd="1" destOrd="0" presId="urn:microsoft.com/office/officeart/2005/8/layout/orgChart1"/>
    <dgm:cxn modelId="{A0D59105-82BB-4990-84A7-F4EC664E3219}" type="presParOf" srcId="{D1AE3956-155B-4C12-9772-57F65C33D8E4}" destId="{CB15C420-95D3-4346-86CD-6662285651C0}" srcOrd="1" destOrd="0" presId="urn:microsoft.com/office/officeart/2005/8/layout/orgChart1"/>
    <dgm:cxn modelId="{FE69D0E6-C6C5-4B5F-992A-BE9F40B7C27D}" type="presParOf" srcId="{D1AE3956-155B-4C12-9772-57F65C33D8E4}" destId="{6E520B6B-FC97-4E46-AE6E-9E1CB76E6FEA}" srcOrd="2" destOrd="0" presId="urn:microsoft.com/office/officeart/2005/8/layout/orgChart1"/>
    <dgm:cxn modelId="{DE55DA27-DB2D-4A29-BA27-7571E81C4D56}" type="presParOf" srcId="{6E520B6B-FC97-4E46-AE6E-9E1CB76E6FEA}" destId="{93D6517F-0385-49AA-8B4F-A83D4974E921}" srcOrd="0" destOrd="0" presId="urn:microsoft.com/office/officeart/2005/8/layout/orgChart1"/>
    <dgm:cxn modelId="{D16E9606-EAA2-46CE-BC9E-F1C34A052080}" type="presParOf" srcId="{6E520B6B-FC97-4E46-AE6E-9E1CB76E6FEA}" destId="{6B4A797E-A22C-4F65-B993-EBA42E1BD5FD}" srcOrd="1" destOrd="0" presId="urn:microsoft.com/office/officeart/2005/8/layout/orgChart1"/>
    <dgm:cxn modelId="{B1558EB8-78D4-44A9-9959-077F283F3B81}" type="presParOf" srcId="{6B4A797E-A22C-4F65-B993-EBA42E1BD5FD}" destId="{75F9F437-293B-4370-95C5-5BAF68495069}" srcOrd="0" destOrd="0" presId="urn:microsoft.com/office/officeart/2005/8/layout/orgChart1"/>
    <dgm:cxn modelId="{FC924ACB-F81D-4CE5-B0F5-0DF001A7EAFC}" type="presParOf" srcId="{75F9F437-293B-4370-95C5-5BAF68495069}" destId="{FFED62F0-9375-4AFA-91BF-8BEB1B1DA122}" srcOrd="0" destOrd="0" presId="urn:microsoft.com/office/officeart/2005/8/layout/orgChart1"/>
    <dgm:cxn modelId="{3B55ED75-64B2-448F-AD50-D6D42FB69CFB}" type="presParOf" srcId="{75F9F437-293B-4370-95C5-5BAF68495069}" destId="{5BE058EB-05D6-4F2E-BDD5-D44753170512}" srcOrd="1" destOrd="0" presId="urn:microsoft.com/office/officeart/2005/8/layout/orgChart1"/>
    <dgm:cxn modelId="{D98CA658-EA92-4981-A6DF-52C3E451296A}" type="presParOf" srcId="{6B4A797E-A22C-4F65-B993-EBA42E1BD5FD}" destId="{45EAED0C-91DF-45BD-9BF0-2CD306173B80}" srcOrd="1" destOrd="0" presId="urn:microsoft.com/office/officeart/2005/8/layout/orgChart1"/>
    <dgm:cxn modelId="{65D04766-F699-4FE3-B74B-692EE63D3BE8}" type="presParOf" srcId="{6B4A797E-A22C-4F65-B993-EBA42E1BD5FD}" destId="{456F6E93-DC9C-4DFC-8DB6-3BB2828B4713}" srcOrd="2" destOrd="0" presId="urn:microsoft.com/office/officeart/2005/8/layout/orgChart1"/>
    <dgm:cxn modelId="{E1BC605B-F3FB-404F-87A7-2BAE1D056C3E}" type="presParOf" srcId="{6E520B6B-FC97-4E46-AE6E-9E1CB76E6FEA}" destId="{01A05628-C9C6-431E-8A03-CADF1A277206}" srcOrd="2" destOrd="0" presId="urn:microsoft.com/office/officeart/2005/8/layout/orgChart1"/>
    <dgm:cxn modelId="{9023B501-A77C-4186-8EC8-1AB47E9DBE3D}" type="presParOf" srcId="{6E520B6B-FC97-4E46-AE6E-9E1CB76E6FEA}" destId="{390C3BD9-C49D-4D58-99ED-D69FB82CCA1D}" srcOrd="3" destOrd="0" presId="urn:microsoft.com/office/officeart/2005/8/layout/orgChart1"/>
    <dgm:cxn modelId="{43C0ACC1-3103-449B-A0CD-E62477FC4BA6}" type="presParOf" srcId="{390C3BD9-C49D-4D58-99ED-D69FB82CCA1D}" destId="{01AC38BB-3C65-453A-B478-47B8AE5EBCF6}" srcOrd="0" destOrd="0" presId="urn:microsoft.com/office/officeart/2005/8/layout/orgChart1"/>
    <dgm:cxn modelId="{0C899BC6-1C0E-4122-94C7-EF1125FE784D}" type="presParOf" srcId="{01AC38BB-3C65-453A-B478-47B8AE5EBCF6}" destId="{35267D9E-1B25-44B5-AAF3-E6D98E68EAB1}" srcOrd="0" destOrd="0" presId="urn:microsoft.com/office/officeart/2005/8/layout/orgChart1"/>
    <dgm:cxn modelId="{79FC0370-5877-4429-85BE-61BC8D220BB8}" type="presParOf" srcId="{01AC38BB-3C65-453A-B478-47B8AE5EBCF6}" destId="{C2F961CF-9488-40B4-A5E8-C3FE9B710635}" srcOrd="1" destOrd="0" presId="urn:microsoft.com/office/officeart/2005/8/layout/orgChart1"/>
    <dgm:cxn modelId="{39EB8747-7779-4E46-8AB8-481C22D1BAB1}" type="presParOf" srcId="{390C3BD9-C49D-4D58-99ED-D69FB82CCA1D}" destId="{542E4E9E-F9B7-4FC3-A6DA-034757BBEC93}" srcOrd="1" destOrd="0" presId="urn:microsoft.com/office/officeart/2005/8/layout/orgChart1"/>
    <dgm:cxn modelId="{0B72B22D-0295-4D07-8D82-95659AA18EAC}" type="presParOf" srcId="{390C3BD9-C49D-4D58-99ED-D69FB82CCA1D}" destId="{4C3F5E65-414E-4E32-9156-E925ABD50F13}"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A05628-C9C6-431E-8A03-CADF1A277206}">
      <dsp:nvSpPr>
        <dsp:cNvPr id="0" name=""/>
        <dsp:cNvSpPr/>
      </dsp:nvSpPr>
      <dsp:spPr>
        <a:xfrm>
          <a:off x="2978730" y="2493122"/>
          <a:ext cx="293719" cy="684217"/>
        </a:xfrm>
        <a:custGeom>
          <a:avLst/>
          <a:gdLst/>
          <a:ahLst/>
          <a:cxnLst/>
          <a:rect l="0" t="0" r="0" b="0"/>
          <a:pathLst>
            <a:path>
              <a:moveTo>
                <a:pt x="293719" y="0"/>
              </a:moveTo>
              <a:lnTo>
                <a:pt x="293719" y="684217"/>
              </a:lnTo>
              <a:lnTo>
                <a:pt x="0" y="68421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D6517F-0385-49AA-8B4F-A83D4974E921}">
      <dsp:nvSpPr>
        <dsp:cNvPr id="0" name=""/>
        <dsp:cNvSpPr/>
      </dsp:nvSpPr>
      <dsp:spPr>
        <a:xfrm>
          <a:off x="3272450" y="2493122"/>
          <a:ext cx="284924" cy="684217"/>
        </a:xfrm>
        <a:custGeom>
          <a:avLst/>
          <a:gdLst/>
          <a:ahLst/>
          <a:cxnLst/>
          <a:rect l="0" t="0" r="0" b="0"/>
          <a:pathLst>
            <a:path>
              <a:moveTo>
                <a:pt x="0" y="0"/>
              </a:moveTo>
              <a:lnTo>
                <a:pt x="0" y="684217"/>
              </a:lnTo>
              <a:lnTo>
                <a:pt x="284924" y="684217"/>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56404A5-ACF6-415A-BCE9-67F0D136160F}">
      <dsp:nvSpPr>
        <dsp:cNvPr id="0" name=""/>
        <dsp:cNvSpPr/>
      </dsp:nvSpPr>
      <dsp:spPr>
        <a:xfrm>
          <a:off x="5417052" y="1282508"/>
          <a:ext cx="445109" cy="795756"/>
        </a:xfrm>
        <a:custGeom>
          <a:avLst/>
          <a:gdLst/>
          <a:ahLst/>
          <a:cxnLst/>
          <a:rect l="0" t="0" r="0" b="0"/>
          <a:pathLst>
            <a:path>
              <a:moveTo>
                <a:pt x="445109" y="0"/>
              </a:moveTo>
              <a:lnTo>
                <a:pt x="445109" y="795756"/>
              </a:lnTo>
              <a:lnTo>
                <a:pt x="0" y="79575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1DD7839-18B7-4845-9F2E-3D621B2DE3B8}">
      <dsp:nvSpPr>
        <dsp:cNvPr id="0" name=""/>
        <dsp:cNvSpPr/>
      </dsp:nvSpPr>
      <dsp:spPr>
        <a:xfrm>
          <a:off x="9552238" y="4817101"/>
          <a:ext cx="259595" cy="763339"/>
        </a:xfrm>
        <a:custGeom>
          <a:avLst/>
          <a:gdLst/>
          <a:ahLst/>
          <a:cxnLst/>
          <a:rect l="0" t="0" r="0" b="0"/>
          <a:pathLst>
            <a:path>
              <a:moveTo>
                <a:pt x="0" y="0"/>
              </a:moveTo>
              <a:lnTo>
                <a:pt x="0" y="763339"/>
              </a:lnTo>
              <a:lnTo>
                <a:pt x="259595" y="76333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55F570F-04AF-41AC-B7D4-471989C451D2}">
      <dsp:nvSpPr>
        <dsp:cNvPr id="0" name=""/>
        <dsp:cNvSpPr/>
      </dsp:nvSpPr>
      <dsp:spPr>
        <a:xfrm>
          <a:off x="5862162" y="1282508"/>
          <a:ext cx="4438353" cy="2704876"/>
        </a:xfrm>
        <a:custGeom>
          <a:avLst/>
          <a:gdLst/>
          <a:ahLst/>
          <a:cxnLst/>
          <a:rect l="0" t="0" r="0" b="0"/>
          <a:pathLst>
            <a:path>
              <a:moveTo>
                <a:pt x="0" y="0"/>
              </a:moveTo>
              <a:lnTo>
                <a:pt x="0" y="2530636"/>
              </a:lnTo>
              <a:lnTo>
                <a:pt x="4438353" y="2530636"/>
              </a:lnTo>
              <a:lnTo>
                <a:pt x="4438353" y="270487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8BDBD3D-F1F5-4A9A-A114-CCD9154CF215}">
      <dsp:nvSpPr>
        <dsp:cNvPr id="0" name=""/>
        <dsp:cNvSpPr/>
      </dsp:nvSpPr>
      <dsp:spPr>
        <a:xfrm>
          <a:off x="7333061" y="4817101"/>
          <a:ext cx="259595" cy="763339"/>
        </a:xfrm>
        <a:custGeom>
          <a:avLst/>
          <a:gdLst/>
          <a:ahLst/>
          <a:cxnLst/>
          <a:rect l="0" t="0" r="0" b="0"/>
          <a:pathLst>
            <a:path>
              <a:moveTo>
                <a:pt x="0" y="0"/>
              </a:moveTo>
              <a:lnTo>
                <a:pt x="0" y="763339"/>
              </a:lnTo>
              <a:lnTo>
                <a:pt x="259595" y="76333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FEF4FC-33C9-42AB-BEA9-79595D5BFA18}">
      <dsp:nvSpPr>
        <dsp:cNvPr id="0" name=""/>
        <dsp:cNvSpPr/>
      </dsp:nvSpPr>
      <dsp:spPr>
        <a:xfrm>
          <a:off x="5862162" y="1282508"/>
          <a:ext cx="2219176" cy="2704876"/>
        </a:xfrm>
        <a:custGeom>
          <a:avLst/>
          <a:gdLst/>
          <a:ahLst/>
          <a:cxnLst/>
          <a:rect l="0" t="0" r="0" b="0"/>
          <a:pathLst>
            <a:path>
              <a:moveTo>
                <a:pt x="0" y="0"/>
              </a:moveTo>
              <a:lnTo>
                <a:pt x="0" y="2530636"/>
              </a:lnTo>
              <a:lnTo>
                <a:pt x="2219176" y="2530636"/>
              </a:lnTo>
              <a:lnTo>
                <a:pt x="2219176" y="270487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A3AB343-DBF8-409D-AE04-F7510D1F7BCD}">
      <dsp:nvSpPr>
        <dsp:cNvPr id="0" name=""/>
        <dsp:cNvSpPr/>
      </dsp:nvSpPr>
      <dsp:spPr>
        <a:xfrm>
          <a:off x="5113884" y="4817101"/>
          <a:ext cx="259595" cy="763339"/>
        </a:xfrm>
        <a:custGeom>
          <a:avLst/>
          <a:gdLst/>
          <a:ahLst/>
          <a:cxnLst/>
          <a:rect l="0" t="0" r="0" b="0"/>
          <a:pathLst>
            <a:path>
              <a:moveTo>
                <a:pt x="0" y="0"/>
              </a:moveTo>
              <a:lnTo>
                <a:pt x="0" y="763339"/>
              </a:lnTo>
              <a:lnTo>
                <a:pt x="259595" y="76333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BBE26A0-FE86-430F-A39B-9FC07F018648}">
      <dsp:nvSpPr>
        <dsp:cNvPr id="0" name=""/>
        <dsp:cNvSpPr/>
      </dsp:nvSpPr>
      <dsp:spPr>
        <a:xfrm>
          <a:off x="5816442" y="1282508"/>
          <a:ext cx="91440" cy="2704876"/>
        </a:xfrm>
        <a:custGeom>
          <a:avLst/>
          <a:gdLst/>
          <a:ahLst/>
          <a:cxnLst/>
          <a:rect l="0" t="0" r="0" b="0"/>
          <a:pathLst>
            <a:path>
              <a:moveTo>
                <a:pt x="45720" y="0"/>
              </a:moveTo>
              <a:lnTo>
                <a:pt x="45720" y="270487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5CB9BF4-6066-4AD7-8A66-4556476EC99E}">
      <dsp:nvSpPr>
        <dsp:cNvPr id="0" name=""/>
        <dsp:cNvSpPr/>
      </dsp:nvSpPr>
      <dsp:spPr>
        <a:xfrm>
          <a:off x="2894707" y="4817101"/>
          <a:ext cx="259595" cy="763339"/>
        </a:xfrm>
        <a:custGeom>
          <a:avLst/>
          <a:gdLst/>
          <a:ahLst/>
          <a:cxnLst/>
          <a:rect l="0" t="0" r="0" b="0"/>
          <a:pathLst>
            <a:path>
              <a:moveTo>
                <a:pt x="0" y="0"/>
              </a:moveTo>
              <a:lnTo>
                <a:pt x="0" y="763339"/>
              </a:lnTo>
              <a:lnTo>
                <a:pt x="259595" y="76333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C35B38F-2E55-46B2-A73C-E75DB337D06E}">
      <dsp:nvSpPr>
        <dsp:cNvPr id="0" name=""/>
        <dsp:cNvSpPr/>
      </dsp:nvSpPr>
      <dsp:spPr>
        <a:xfrm>
          <a:off x="3642985" y="1282508"/>
          <a:ext cx="2219176" cy="2704876"/>
        </a:xfrm>
        <a:custGeom>
          <a:avLst/>
          <a:gdLst/>
          <a:ahLst/>
          <a:cxnLst/>
          <a:rect l="0" t="0" r="0" b="0"/>
          <a:pathLst>
            <a:path>
              <a:moveTo>
                <a:pt x="2219176" y="0"/>
              </a:moveTo>
              <a:lnTo>
                <a:pt x="2219176" y="2530636"/>
              </a:lnTo>
              <a:lnTo>
                <a:pt x="0" y="2530636"/>
              </a:lnTo>
              <a:lnTo>
                <a:pt x="0" y="270487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1327F79-C7CD-4FE5-96E7-CB925A108935}">
      <dsp:nvSpPr>
        <dsp:cNvPr id="0" name=""/>
        <dsp:cNvSpPr/>
      </dsp:nvSpPr>
      <dsp:spPr>
        <a:xfrm>
          <a:off x="675530" y="4817101"/>
          <a:ext cx="228083" cy="991868"/>
        </a:xfrm>
        <a:custGeom>
          <a:avLst/>
          <a:gdLst/>
          <a:ahLst/>
          <a:cxnLst/>
          <a:rect l="0" t="0" r="0" b="0"/>
          <a:pathLst>
            <a:path>
              <a:moveTo>
                <a:pt x="0" y="0"/>
              </a:moveTo>
              <a:lnTo>
                <a:pt x="0" y="991868"/>
              </a:lnTo>
              <a:lnTo>
                <a:pt x="228083" y="991868"/>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5C7D8D-7FB5-40C7-919A-428B3AA94281}">
      <dsp:nvSpPr>
        <dsp:cNvPr id="0" name=""/>
        <dsp:cNvSpPr/>
      </dsp:nvSpPr>
      <dsp:spPr>
        <a:xfrm>
          <a:off x="1423808" y="1282508"/>
          <a:ext cx="4438353" cy="2704876"/>
        </a:xfrm>
        <a:custGeom>
          <a:avLst/>
          <a:gdLst/>
          <a:ahLst/>
          <a:cxnLst/>
          <a:rect l="0" t="0" r="0" b="0"/>
          <a:pathLst>
            <a:path>
              <a:moveTo>
                <a:pt x="4438353" y="0"/>
              </a:moveTo>
              <a:lnTo>
                <a:pt x="4438353" y="2530636"/>
              </a:lnTo>
              <a:lnTo>
                <a:pt x="0" y="2530636"/>
              </a:lnTo>
              <a:lnTo>
                <a:pt x="0" y="2704876"/>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524178B-3A16-4893-A870-E4AA1235953E}">
      <dsp:nvSpPr>
        <dsp:cNvPr id="0" name=""/>
        <dsp:cNvSpPr/>
      </dsp:nvSpPr>
      <dsp:spPr>
        <a:xfrm>
          <a:off x="3504447" y="994"/>
          <a:ext cx="4715429" cy="1281514"/>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nb-NO" sz="1600" b="1" kern="1200" dirty="0"/>
            <a:t>Systemeiere FNSP</a:t>
          </a:r>
        </a:p>
        <a:p>
          <a:pPr marL="0" lvl="0" indent="0" algn="ctr" defTabSz="711200">
            <a:lnSpc>
              <a:spcPct val="90000"/>
            </a:lnSpc>
            <a:spcBef>
              <a:spcPct val="0"/>
            </a:spcBef>
            <a:spcAft>
              <a:spcPct val="35000"/>
            </a:spcAft>
            <a:buNone/>
          </a:pPr>
          <a:r>
            <a:rPr lang="nb-NO" sz="900" kern="1200" dirty="0"/>
            <a:t>De fire regionale fagdirektørene og </a:t>
          </a:r>
          <a:br>
            <a:rPr lang="nb-NO" sz="900" kern="1200" dirty="0"/>
          </a:br>
          <a:r>
            <a:rPr lang="nb-NO" sz="900" kern="1200" dirty="0"/>
            <a:t>de fire regionale kommunikasjonsdirektørene</a:t>
          </a:r>
        </a:p>
      </dsp:txBody>
      <dsp:txXfrm>
        <a:off x="3504447" y="994"/>
        <a:ext cx="4715429" cy="1281514"/>
      </dsp:txXfrm>
    </dsp:sp>
    <dsp:sp modelId="{EA0AC095-C614-4F3E-97EA-AB38B9438A2F}">
      <dsp:nvSpPr>
        <dsp:cNvPr id="0" name=""/>
        <dsp:cNvSpPr/>
      </dsp:nvSpPr>
      <dsp:spPr>
        <a:xfrm>
          <a:off x="488460" y="3987384"/>
          <a:ext cx="1870695" cy="829716"/>
        </a:xfrm>
        <a:prstGeom prst="rect">
          <a:avLst/>
        </a:prstGeom>
        <a:solidFill>
          <a:srgbClr val="ADB8B3"/>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b="1" kern="1200" dirty="0"/>
            <a:t>Helse Sør-Øst</a:t>
          </a:r>
        </a:p>
      </dsp:txBody>
      <dsp:txXfrm>
        <a:off x="488460" y="3987384"/>
        <a:ext cx="1870695" cy="829716"/>
      </dsp:txXfrm>
    </dsp:sp>
    <dsp:sp modelId="{2F22D180-06F0-4A79-9B87-06A1BDE8D03F}">
      <dsp:nvSpPr>
        <dsp:cNvPr id="0" name=""/>
        <dsp:cNvSpPr/>
      </dsp:nvSpPr>
      <dsp:spPr>
        <a:xfrm>
          <a:off x="903613" y="5165582"/>
          <a:ext cx="1870695" cy="1286774"/>
        </a:xfrm>
        <a:prstGeom prst="rect">
          <a:avLst/>
        </a:prstGeom>
        <a:solidFill>
          <a:srgbClr val="6D848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kern="1200" dirty="0"/>
            <a:t>Sykehus, RHF, IKT, Apotek, private ideelle, pasientreiser, Sykehusbygg, HDO, Nye Metoder</a:t>
          </a:r>
        </a:p>
      </dsp:txBody>
      <dsp:txXfrm>
        <a:off x="903613" y="5165582"/>
        <a:ext cx="1870695" cy="1286774"/>
      </dsp:txXfrm>
    </dsp:sp>
    <dsp:sp modelId="{6DCE400E-329A-4403-9FE0-81D54C72D09D}">
      <dsp:nvSpPr>
        <dsp:cNvPr id="0" name=""/>
        <dsp:cNvSpPr/>
      </dsp:nvSpPr>
      <dsp:spPr>
        <a:xfrm>
          <a:off x="2707637" y="3987384"/>
          <a:ext cx="1870695" cy="829716"/>
        </a:xfrm>
        <a:prstGeom prst="rect">
          <a:avLst/>
        </a:prstGeom>
        <a:solidFill>
          <a:srgbClr val="ADB8B3"/>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b="1" kern="1200" dirty="0"/>
            <a:t>Helse Vest</a:t>
          </a:r>
        </a:p>
      </dsp:txBody>
      <dsp:txXfrm>
        <a:off x="2707637" y="3987384"/>
        <a:ext cx="1870695" cy="829716"/>
      </dsp:txXfrm>
    </dsp:sp>
    <dsp:sp modelId="{E81D85D6-A20F-43A1-87C2-1FF575E58303}">
      <dsp:nvSpPr>
        <dsp:cNvPr id="0" name=""/>
        <dsp:cNvSpPr/>
      </dsp:nvSpPr>
      <dsp:spPr>
        <a:xfrm>
          <a:off x="3154303" y="5165582"/>
          <a:ext cx="1870695" cy="829716"/>
        </a:xfrm>
        <a:prstGeom prst="rect">
          <a:avLst/>
        </a:prstGeom>
        <a:solidFill>
          <a:srgbClr val="6D848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kern="1200" dirty="0"/>
            <a:t>Sykehus, RHF, IKT, Apotek, private ideelle, saman.no</a:t>
          </a:r>
        </a:p>
      </dsp:txBody>
      <dsp:txXfrm>
        <a:off x="3154303" y="5165582"/>
        <a:ext cx="1870695" cy="829716"/>
      </dsp:txXfrm>
    </dsp:sp>
    <dsp:sp modelId="{83B438A5-AFE0-4FC8-97DF-85F367D8DC04}">
      <dsp:nvSpPr>
        <dsp:cNvPr id="0" name=""/>
        <dsp:cNvSpPr/>
      </dsp:nvSpPr>
      <dsp:spPr>
        <a:xfrm>
          <a:off x="4926814" y="3987384"/>
          <a:ext cx="1870695" cy="829716"/>
        </a:xfrm>
        <a:prstGeom prst="rect">
          <a:avLst/>
        </a:prstGeom>
        <a:solidFill>
          <a:srgbClr val="ADB8B3"/>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b="1" kern="1200" dirty="0"/>
            <a:t>Helse Midt</a:t>
          </a:r>
        </a:p>
      </dsp:txBody>
      <dsp:txXfrm>
        <a:off x="4926814" y="3987384"/>
        <a:ext cx="1870695" cy="829716"/>
      </dsp:txXfrm>
    </dsp:sp>
    <dsp:sp modelId="{B220D50F-23F1-4F57-85A5-0C5CB47DFCBF}">
      <dsp:nvSpPr>
        <dsp:cNvPr id="0" name=""/>
        <dsp:cNvSpPr/>
      </dsp:nvSpPr>
      <dsp:spPr>
        <a:xfrm>
          <a:off x="5373480" y="5165582"/>
          <a:ext cx="1870695" cy="829716"/>
        </a:xfrm>
        <a:prstGeom prst="rect">
          <a:avLst/>
        </a:prstGeom>
        <a:solidFill>
          <a:srgbClr val="6D848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kern="1200" dirty="0"/>
            <a:t>Sykehus, RHF, IKT, Apotek, private ideelle</a:t>
          </a:r>
        </a:p>
      </dsp:txBody>
      <dsp:txXfrm>
        <a:off x="5373480" y="5165582"/>
        <a:ext cx="1870695" cy="829716"/>
      </dsp:txXfrm>
    </dsp:sp>
    <dsp:sp modelId="{213B51C0-F5E9-4CA2-9459-6F201DC6F477}">
      <dsp:nvSpPr>
        <dsp:cNvPr id="0" name=""/>
        <dsp:cNvSpPr/>
      </dsp:nvSpPr>
      <dsp:spPr>
        <a:xfrm>
          <a:off x="7145991" y="3987384"/>
          <a:ext cx="1870695" cy="829716"/>
        </a:xfrm>
        <a:prstGeom prst="rect">
          <a:avLst/>
        </a:prstGeom>
        <a:solidFill>
          <a:srgbClr val="ADB8B3"/>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b="1" kern="1200" dirty="0"/>
            <a:t>Helse Nord</a:t>
          </a:r>
        </a:p>
      </dsp:txBody>
      <dsp:txXfrm>
        <a:off x="7145991" y="3987384"/>
        <a:ext cx="1870695" cy="829716"/>
      </dsp:txXfrm>
    </dsp:sp>
    <dsp:sp modelId="{AA84B735-EDFC-4E8C-BA50-D5E76F608F2A}">
      <dsp:nvSpPr>
        <dsp:cNvPr id="0" name=""/>
        <dsp:cNvSpPr/>
      </dsp:nvSpPr>
      <dsp:spPr>
        <a:xfrm>
          <a:off x="7592657" y="5165582"/>
          <a:ext cx="1870695" cy="829716"/>
        </a:xfrm>
        <a:prstGeom prst="rect">
          <a:avLst/>
        </a:prstGeom>
        <a:solidFill>
          <a:srgbClr val="6D848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kern="1200" dirty="0"/>
            <a:t>Sykehus, RHF, IKT, Apotek, Sykehusinnkjøp, Luftambulansen</a:t>
          </a:r>
        </a:p>
      </dsp:txBody>
      <dsp:txXfrm>
        <a:off x="7592657" y="5165582"/>
        <a:ext cx="1870695" cy="829716"/>
      </dsp:txXfrm>
    </dsp:sp>
    <dsp:sp modelId="{319D2089-B739-4CC2-B483-DED4DD61A5B3}">
      <dsp:nvSpPr>
        <dsp:cNvPr id="0" name=""/>
        <dsp:cNvSpPr/>
      </dsp:nvSpPr>
      <dsp:spPr>
        <a:xfrm>
          <a:off x="9365168" y="3987384"/>
          <a:ext cx="1870695" cy="829716"/>
        </a:xfrm>
        <a:prstGeom prst="rect">
          <a:avLst/>
        </a:prstGeom>
        <a:solidFill>
          <a:srgbClr val="ADB8B3"/>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b="1" kern="1200" dirty="0"/>
            <a:t>Nasjonalt</a:t>
          </a:r>
        </a:p>
      </dsp:txBody>
      <dsp:txXfrm>
        <a:off x="9365168" y="3987384"/>
        <a:ext cx="1870695" cy="829716"/>
      </dsp:txXfrm>
    </dsp:sp>
    <dsp:sp modelId="{77061BE3-E5FB-4B96-81F3-CD678C4F7DA8}">
      <dsp:nvSpPr>
        <dsp:cNvPr id="0" name=""/>
        <dsp:cNvSpPr/>
      </dsp:nvSpPr>
      <dsp:spPr>
        <a:xfrm>
          <a:off x="9811834" y="5165582"/>
          <a:ext cx="1870695" cy="829716"/>
        </a:xfrm>
        <a:prstGeom prst="rect">
          <a:avLst/>
        </a:prstGeom>
        <a:solidFill>
          <a:srgbClr val="6D8480"/>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b="1" kern="1200" dirty="0"/>
            <a:t>Spesialisthelsetjenesten.no</a:t>
          </a:r>
        </a:p>
        <a:p>
          <a:pPr marL="0" lvl="0" indent="0" algn="ctr" defTabSz="533400">
            <a:lnSpc>
              <a:spcPct val="90000"/>
            </a:lnSpc>
            <a:spcBef>
              <a:spcPct val="0"/>
            </a:spcBef>
            <a:spcAft>
              <a:spcPct val="35000"/>
            </a:spcAft>
            <a:buNone/>
          </a:pPr>
          <a:r>
            <a:rPr lang="nb-NO" sz="1200" b="1" kern="1200" dirty="0"/>
            <a:t>Fellesdatabase</a:t>
          </a:r>
        </a:p>
      </dsp:txBody>
      <dsp:txXfrm>
        <a:off x="9811834" y="5165582"/>
        <a:ext cx="1870695" cy="829716"/>
      </dsp:txXfrm>
    </dsp:sp>
    <dsp:sp modelId="{3DF1DE0D-2B3C-464A-A64E-5BD34333B3BF}">
      <dsp:nvSpPr>
        <dsp:cNvPr id="0" name=""/>
        <dsp:cNvSpPr/>
      </dsp:nvSpPr>
      <dsp:spPr>
        <a:xfrm>
          <a:off x="1127848" y="1663406"/>
          <a:ext cx="4289204" cy="829716"/>
        </a:xfrm>
        <a:prstGeom prst="rect">
          <a:avLst/>
        </a:prstGeom>
        <a:solidFill>
          <a:srgbClr val="74A5CD"/>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b="1" kern="1200" dirty="0"/>
            <a:t>FNSP Interregional organisasjon</a:t>
          </a:r>
        </a:p>
      </dsp:txBody>
      <dsp:txXfrm>
        <a:off x="1127848" y="1663406"/>
        <a:ext cx="4289204" cy="829716"/>
      </dsp:txXfrm>
    </dsp:sp>
    <dsp:sp modelId="{FFED62F0-9375-4AFA-91BF-8BEB1B1DA122}">
      <dsp:nvSpPr>
        <dsp:cNvPr id="0" name=""/>
        <dsp:cNvSpPr/>
      </dsp:nvSpPr>
      <dsp:spPr>
        <a:xfrm>
          <a:off x="3557375" y="2762482"/>
          <a:ext cx="1870695" cy="829716"/>
        </a:xfrm>
        <a:prstGeom prst="rect">
          <a:avLst/>
        </a:prstGeom>
        <a:solidFill>
          <a:srgbClr val="74A5CD"/>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b="1" kern="1200" dirty="0"/>
            <a:t>Medisinsk og </a:t>
          </a:r>
          <a:br>
            <a:rPr lang="nb-NO" sz="1200" b="1" kern="1200" dirty="0"/>
          </a:br>
          <a:r>
            <a:rPr lang="nb-NO" sz="1200" b="1" kern="1200" dirty="0"/>
            <a:t>helsefaglig redaksjon</a:t>
          </a:r>
        </a:p>
      </dsp:txBody>
      <dsp:txXfrm>
        <a:off x="3557375" y="2762482"/>
        <a:ext cx="1870695" cy="829716"/>
      </dsp:txXfrm>
    </dsp:sp>
    <dsp:sp modelId="{35267D9E-1B25-44B5-AAF3-E6D98E68EAB1}">
      <dsp:nvSpPr>
        <dsp:cNvPr id="0" name=""/>
        <dsp:cNvSpPr/>
      </dsp:nvSpPr>
      <dsp:spPr>
        <a:xfrm>
          <a:off x="1108035" y="2762482"/>
          <a:ext cx="1870695" cy="829716"/>
        </a:xfrm>
        <a:prstGeom prst="rect">
          <a:avLst/>
        </a:prstGeom>
        <a:solidFill>
          <a:srgbClr val="74A5CD"/>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b-NO" sz="1200" b="1" kern="1200" dirty="0"/>
            <a:t>Seksjon FNSP i Norsk Helsenett</a:t>
          </a:r>
        </a:p>
      </dsp:txBody>
      <dsp:txXfrm>
        <a:off x="1108035" y="2762482"/>
        <a:ext cx="1870695" cy="82971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6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9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no-NO"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no-NO" sz="1200" b="0" i="0" u="none" strike="noStrike" cap="none" smtClean="0">
                <a:solidFill>
                  <a:schemeClr val="dk1"/>
                </a:solidFill>
                <a:latin typeface="Calibri"/>
                <a:ea typeface="Calibri"/>
                <a:cs typeface="Calibri"/>
                <a:sym typeface="Calibri"/>
              </a:rPr>
              <a:t>1</a:t>
            </a:fld>
            <a:endParaRPr lang="no-NO"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1589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F0AE5C25-339E-491E-8957-AD224BA77893}" type="slidenum">
              <a:rPr lang="nb-NO" smtClean="0"/>
              <a:t>2</a:t>
            </a:fld>
            <a:endParaRPr lang="nb-NO"/>
          </a:p>
        </p:txBody>
      </p:sp>
    </p:spTree>
    <p:extLst>
      <p:ext uri="{BB962C8B-B14F-4D97-AF65-F5344CB8AC3E}">
        <p14:creationId xmlns:p14="http://schemas.microsoft.com/office/powerpoint/2010/main" val="26014209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no-NO" sz="1200" b="0" i="0" u="none" strike="noStrike" cap="none" smtClean="0">
                <a:solidFill>
                  <a:schemeClr val="dk1"/>
                </a:solidFill>
                <a:latin typeface="Calibri"/>
                <a:ea typeface="Calibri"/>
                <a:cs typeface="Calibri"/>
                <a:sym typeface="Calibri"/>
              </a:rPr>
              <a:t>4</a:t>
            </a:fld>
            <a:endParaRPr lang="no-NO"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9280549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Tree>
    <p:extLst>
      <p:ext uri="{BB962C8B-B14F-4D97-AF65-F5344CB8AC3E}">
        <p14:creationId xmlns:p14="http://schemas.microsoft.com/office/powerpoint/2010/main" val="244768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Tree>
    <p:extLst>
      <p:ext uri="{BB962C8B-B14F-4D97-AF65-F5344CB8AC3E}">
        <p14:creationId xmlns:p14="http://schemas.microsoft.com/office/powerpoint/2010/main" val="41794474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50603AEC-303F-4FD8-8878-424BD55E8326}" type="slidenum">
              <a:rPr lang="nb-NO" smtClean="0"/>
              <a:t>9</a:t>
            </a:fld>
            <a:endParaRPr lang="nb-NO"/>
          </a:p>
        </p:txBody>
      </p:sp>
    </p:spTree>
    <p:extLst>
      <p:ext uri="{BB962C8B-B14F-4D97-AF65-F5344CB8AC3E}">
        <p14:creationId xmlns:p14="http://schemas.microsoft.com/office/powerpoint/2010/main" val="1748035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50603AEC-303F-4FD8-8878-424BD55E8326}" type="slidenum">
              <a:rPr lang="nb-NO" smtClean="0"/>
              <a:t>10</a:t>
            </a:fld>
            <a:endParaRPr lang="nb-NO"/>
          </a:p>
        </p:txBody>
      </p:sp>
    </p:spTree>
    <p:extLst>
      <p:ext uri="{BB962C8B-B14F-4D97-AF65-F5344CB8AC3E}">
        <p14:creationId xmlns:p14="http://schemas.microsoft.com/office/powerpoint/2010/main" val="1328626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no-NO" sz="1200" b="0" i="0" u="none" strike="noStrike" cap="none" smtClean="0">
                <a:solidFill>
                  <a:schemeClr val="dk1"/>
                </a:solidFill>
                <a:latin typeface="Calibri"/>
                <a:ea typeface="Calibri"/>
                <a:cs typeface="Calibri"/>
                <a:sym typeface="Calibri"/>
              </a:rPr>
              <a:t>12</a:t>
            </a:fld>
            <a:endParaRPr lang="no-NO"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62726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no-NO" sz="1200" b="0" i="0" u="none" strike="noStrike" cap="none" smtClean="0">
                <a:solidFill>
                  <a:schemeClr val="dk1"/>
                </a:solidFill>
                <a:latin typeface="Calibri"/>
                <a:ea typeface="Calibri"/>
                <a:cs typeface="Calibri"/>
                <a:sym typeface="Calibri"/>
              </a:rPr>
              <a:t>13</a:t>
            </a:fld>
            <a:endParaRPr lang="no-NO"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123376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Forside FNSP">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12BF8F47-BFA2-40ED-A10F-7ED048E2306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tel 1">
            <a:extLst>
              <a:ext uri="{FF2B5EF4-FFF2-40B4-BE49-F238E27FC236}">
                <a16:creationId xmlns:a16="http://schemas.microsoft.com/office/drawing/2014/main" id="{DFB5330C-7770-44EE-BD11-42905AF3BD92}"/>
              </a:ext>
            </a:extLst>
          </p:cNvPr>
          <p:cNvSpPr>
            <a:spLocks noGrp="1"/>
          </p:cNvSpPr>
          <p:nvPr>
            <p:ph type="ctrTitle"/>
          </p:nvPr>
        </p:nvSpPr>
        <p:spPr>
          <a:xfrm>
            <a:off x="1084522" y="776176"/>
            <a:ext cx="4572000" cy="3211033"/>
          </a:xfrm>
        </p:spPr>
        <p:txBody>
          <a:bodyPr anchor="b">
            <a:normAutofit/>
          </a:bodyPr>
          <a:lstStyle>
            <a:lvl1pPr algn="l">
              <a:defRPr sz="4800">
                <a:solidFill>
                  <a:schemeClr val="bg1"/>
                </a:solidFill>
              </a:defRPr>
            </a:lvl1pPr>
          </a:lstStyle>
          <a:p>
            <a:r>
              <a:rPr lang="nb-NO"/>
              <a:t>Klikk for å redigere tittelstil</a:t>
            </a:r>
            <a:endParaRPr lang="nb-NO" dirty="0"/>
          </a:p>
        </p:txBody>
      </p:sp>
      <p:sp>
        <p:nvSpPr>
          <p:cNvPr id="3" name="Undertittel 2">
            <a:extLst>
              <a:ext uri="{FF2B5EF4-FFF2-40B4-BE49-F238E27FC236}">
                <a16:creationId xmlns:a16="http://schemas.microsoft.com/office/drawing/2014/main" id="{36CC6D4E-C35D-4B99-BD2A-7CAADBF5BB8E}"/>
              </a:ext>
            </a:extLst>
          </p:cNvPr>
          <p:cNvSpPr>
            <a:spLocks noGrp="1"/>
          </p:cNvSpPr>
          <p:nvPr>
            <p:ph type="subTitle" idx="1" hasCustomPrompt="1"/>
          </p:nvPr>
        </p:nvSpPr>
        <p:spPr>
          <a:xfrm>
            <a:off x="1084522" y="4675926"/>
            <a:ext cx="4132521"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fld id="{32A6C572-3B9D-4878-8324-8F50E337426B}" type="datetime4">
              <a:rPr lang="nb-NO" smtClean="0"/>
              <a:t>2. februar 2022</a:t>
            </a:fld>
            <a:endParaRPr lang="nb-NO" dirty="0"/>
          </a:p>
        </p:txBody>
      </p:sp>
    </p:spTree>
    <p:extLst>
      <p:ext uri="{BB962C8B-B14F-4D97-AF65-F5344CB8AC3E}">
        <p14:creationId xmlns:p14="http://schemas.microsoft.com/office/powerpoint/2010/main" val="858674017"/>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85484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1E14348A-0950-4303-A340-F046CDC0DDEA}" type="datetime1">
              <a:rPr lang="nb-NO" smtClean="0"/>
              <a:t>24.10.2024</a:t>
            </a:fld>
            <a:endParaRPr lang="nb-NO"/>
          </a:p>
        </p:txBody>
      </p:sp>
      <p:sp>
        <p:nvSpPr>
          <p:cNvPr id="4" name="Plassholder for bunntekst 3"/>
          <p:cNvSpPr>
            <a:spLocks noGrp="1"/>
          </p:cNvSpPr>
          <p:nvPr>
            <p:ph type="ftr" sz="quarter" idx="11"/>
          </p:nvPr>
        </p:nvSpPr>
        <p:spPr/>
        <p:txBody>
          <a:bodyPr/>
          <a:lstStyle/>
          <a:p>
            <a:r>
              <a:rPr lang="nb-NO"/>
              <a:t>test</a:t>
            </a:r>
          </a:p>
        </p:txBody>
      </p:sp>
      <p:sp>
        <p:nvSpPr>
          <p:cNvPr id="5" name="Plassholder for lysbildenummer 4"/>
          <p:cNvSpPr>
            <a:spLocks noGrp="1"/>
          </p:cNvSpPr>
          <p:nvPr>
            <p:ph type="sldNum" sz="quarter" idx="12"/>
          </p:nvPr>
        </p:nvSpPr>
        <p:spPr/>
        <p:txBody>
          <a:bodyPr/>
          <a:lstStyle/>
          <a:p>
            <a:fld id="{22D6B40C-7F7F-4814-9D99-07BDAEFEE4BD}" type="slidenum">
              <a:rPr lang="nb-NO" smtClean="0"/>
              <a:t>‹#›</a:t>
            </a:fld>
            <a:endParaRPr lang="nb-NO"/>
          </a:p>
        </p:txBody>
      </p:sp>
    </p:spTree>
    <p:extLst>
      <p:ext uri="{BB962C8B-B14F-4D97-AF65-F5344CB8AC3E}">
        <p14:creationId xmlns:p14="http://schemas.microsoft.com/office/powerpoint/2010/main" val="18673007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945327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Forside">
    <p:bg>
      <p:bgPr>
        <a:solidFill>
          <a:schemeClr val="lt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B73C7EC3-35FE-48E3-9DA5-83D053C36DE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4008" t="14296" b="29454"/>
          <a:stretch/>
        </p:blipFill>
        <p:spPr>
          <a:xfrm>
            <a:off x="0" y="0"/>
            <a:ext cx="9264996" cy="6858001"/>
          </a:xfrm>
          <a:prstGeom prst="rect">
            <a:avLst/>
          </a:prstGeom>
        </p:spPr>
      </p:pic>
      <p:sp>
        <p:nvSpPr>
          <p:cNvPr id="2" name="Title 1"/>
          <p:cNvSpPr>
            <a:spLocks noGrp="1"/>
          </p:cNvSpPr>
          <p:nvPr>
            <p:ph type="ctrTitle"/>
          </p:nvPr>
        </p:nvSpPr>
        <p:spPr>
          <a:xfrm>
            <a:off x="334963" y="2329977"/>
            <a:ext cx="7597775" cy="3619973"/>
          </a:xfrm>
        </p:spPr>
        <p:txBody>
          <a:bodyPr lIns="0" anchor="t"/>
          <a:lstStyle>
            <a:lvl1pPr algn="l">
              <a:defRPr sz="7001">
                <a:solidFill>
                  <a:schemeClr val="tx1"/>
                </a:solidFill>
              </a:defRPr>
            </a:lvl1pPr>
          </a:lstStyle>
          <a:p>
            <a:r>
              <a:rPr lang="nb-NO"/>
              <a:t>Klikk for å redigere tittelstil</a:t>
            </a:r>
            <a:endParaRPr lang="en-US"/>
          </a:p>
        </p:txBody>
      </p:sp>
      <p:sp>
        <p:nvSpPr>
          <p:cNvPr id="3" name="Subtitle 2"/>
          <p:cNvSpPr>
            <a:spLocks noGrp="1"/>
          </p:cNvSpPr>
          <p:nvPr>
            <p:ph type="subTitle" idx="1"/>
          </p:nvPr>
        </p:nvSpPr>
        <p:spPr>
          <a:xfrm>
            <a:off x="334963" y="1916113"/>
            <a:ext cx="7597775" cy="226800"/>
          </a:xfrm>
        </p:spPr>
        <p:txBody>
          <a:bodyPr lIns="36000" anchor="b" anchorCtr="0"/>
          <a:lstStyle>
            <a:lvl1pPr marL="0" indent="0" algn="l">
              <a:lnSpc>
                <a:spcPct val="100000"/>
              </a:lnSpc>
              <a:spcBef>
                <a:spcPts val="0"/>
              </a:spcBef>
              <a:buNone/>
              <a:defRPr sz="1500">
                <a:solidFill>
                  <a:schemeClr val="accent3"/>
                </a:solidFill>
                <a:latin typeface="+mj-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4" name="Date Placeholder 3"/>
          <p:cNvSpPr>
            <a:spLocks noGrp="1"/>
          </p:cNvSpPr>
          <p:nvPr>
            <p:ph type="dt" sz="half" idx="10"/>
          </p:nvPr>
        </p:nvSpPr>
        <p:spPr>
          <a:xfrm>
            <a:off x="8148639" y="6297825"/>
            <a:ext cx="3708399" cy="226800"/>
          </a:xfrm>
        </p:spPr>
        <p:txBody>
          <a:bodyPr rIns="36000"/>
          <a:lstStyle>
            <a:lvl1pPr algn="r">
              <a:defRPr sz="1500">
                <a:solidFill>
                  <a:schemeClr val="bg2"/>
                </a:solidFill>
              </a:defRPr>
            </a:lvl1pPr>
          </a:lstStyle>
          <a:p>
            <a:endParaRPr lang="en-US"/>
          </a:p>
        </p:txBody>
      </p:sp>
      <p:pic>
        <p:nvPicPr>
          <p:cNvPr id="5" name="Graphic 4">
            <a:extLst>
              <a:ext uri="{FF2B5EF4-FFF2-40B4-BE49-F238E27FC236}">
                <a16:creationId xmlns:a16="http://schemas.microsoft.com/office/drawing/2014/main" id="{3E20DC8A-7922-4E87-934E-94417500FB31}"/>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48288" r="70387"/>
          <a:stretch/>
        </p:blipFill>
        <p:spPr>
          <a:xfrm>
            <a:off x="8520185" y="0"/>
            <a:ext cx="3671815" cy="6411954"/>
          </a:xfrm>
          <a:prstGeom prst="rect">
            <a:avLst/>
          </a:prstGeom>
        </p:spPr>
      </p:pic>
      <p:pic>
        <p:nvPicPr>
          <p:cNvPr id="6" name="Graphic 5">
            <a:extLst>
              <a:ext uri="{FF2B5EF4-FFF2-40B4-BE49-F238E27FC236}">
                <a16:creationId xmlns:a16="http://schemas.microsoft.com/office/drawing/2014/main" id="{A1B4446B-A7F2-4BBA-ABFF-C0540653742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5603" y="6363759"/>
            <a:ext cx="1683184" cy="144991"/>
          </a:xfrm>
          <a:prstGeom prst="rect">
            <a:avLst/>
          </a:prstGeom>
        </p:spPr>
      </p:pic>
    </p:spTree>
    <p:extLst>
      <p:ext uri="{BB962C8B-B14F-4D97-AF65-F5344CB8AC3E}">
        <p14:creationId xmlns:p14="http://schemas.microsoft.com/office/powerpoint/2010/main" val="930337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rside (alternativ)">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34963" y="1916113"/>
            <a:ext cx="5106469" cy="226800"/>
          </a:xfrm>
        </p:spPr>
        <p:txBody>
          <a:bodyPr lIns="36000" anchor="b" anchorCtr="0"/>
          <a:lstStyle>
            <a:lvl1pPr marL="0" indent="0" algn="l">
              <a:lnSpc>
                <a:spcPct val="100000"/>
              </a:lnSpc>
              <a:spcBef>
                <a:spcPts val="0"/>
              </a:spcBef>
              <a:buNone/>
              <a:defRPr sz="1500">
                <a:solidFill>
                  <a:schemeClr val="accent3"/>
                </a:solidFill>
                <a:latin typeface="+mj-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4" name="Date Placeholder 3"/>
          <p:cNvSpPr>
            <a:spLocks noGrp="1"/>
          </p:cNvSpPr>
          <p:nvPr>
            <p:ph type="dt" sz="half" idx="10"/>
          </p:nvPr>
        </p:nvSpPr>
        <p:spPr>
          <a:xfrm>
            <a:off x="334963" y="6276226"/>
            <a:ext cx="3708400" cy="226800"/>
          </a:xfrm>
        </p:spPr>
        <p:txBody>
          <a:bodyPr lIns="36000" tIns="0" rIns="36000" bIns="0"/>
          <a:lstStyle>
            <a:lvl1pPr algn="l">
              <a:defRPr sz="1500">
                <a:solidFill>
                  <a:schemeClr val="accent3"/>
                </a:solidFill>
              </a:defRPr>
            </a:lvl1pPr>
          </a:lstStyle>
          <a:p>
            <a:endParaRPr lang="en-US"/>
          </a:p>
        </p:txBody>
      </p:sp>
      <p:pic>
        <p:nvPicPr>
          <p:cNvPr id="6" name="Graphic 5">
            <a:extLst>
              <a:ext uri="{FF2B5EF4-FFF2-40B4-BE49-F238E27FC236}">
                <a16:creationId xmlns:a16="http://schemas.microsoft.com/office/drawing/2014/main" id="{A1B4446B-A7F2-4BBA-ABFF-C054065374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4400" y="397874"/>
            <a:ext cx="1683184" cy="144991"/>
          </a:xfrm>
          <a:prstGeom prst="rect">
            <a:avLst/>
          </a:prstGeom>
        </p:spPr>
      </p:pic>
      <p:sp>
        <p:nvSpPr>
          <p:cNvPr id="10" name="Title 1">
            <a:extLst>
              <a:ext uri="{FF2B5EF4-FFF2-40B4-BE49-F238E27FC236}">
                <a16:creationId xmlns:a16="http://schemas.microsoft.com/office/drawing/2014/main" id="{D1BB0084-C6EE-2543-A137-401FA40C5378}"/>
              </a:ext>
            </a:extLst>
          </p:cNvPr>
          <p:cNvSpPr>
            <a:spLocks noGrp="1"/>
          </p:cNvSpPr>
          <p:nvPr>
            <p:ph type="ctrTitle"/>
          </p:nvPr>
        </p:nvSpPr>
        <p:spPr>
          <a:xfrm>
            <a:off x="334964" y="2329977"/>
            <a:ext cx="5109396" cy="3619973"/>
          </a:xfrm>
        </p:spPr>
        <p:txBody>
          <a:bodyPr lIns="0" anchor="t"/>
          <a:lstStyle>
            <a:lvl1pPr algn="l">
              <a:defRPr sz="5000">
                <a:solidFill>
                  <a:schemeClr val="tx1"/>
                </a:solidFill>
              </a:defRPr>
            </a:lvl1pPr>
          </a:lstStyle>
          <a:p>
            <a:r>
              <a:rPr lang="nb-NO"/>
              <a:t>Klikk for å redigere tittelstil</a:t>
            </a:r>
            <a:endParaRPr lang="en-US"/>
          </a:p>
        </p:txBody>
      </p:sp>
      <p:grpSp>
        <p:nvGrpSpPr>
          <p:cNvPr id="2" name="Graphic 10">
            <a:extLst>
              <a:ext uri="{FF2B5EF4-FFF2-40B4-BE49-F238E27FC236}">
                <a16:creationId xmlns:a16="http://schemas.microsoft.com/office/drawing/2014/main" id="{8D61A240-85A0-4FCE-B46C-B8021C09289C}"/>
              </a:ext>
            </a:extLst>
          </p:cNvPr>
          <p:cNvGrpSpPr/>
          <p:nvPr/>
        </p:nvGrpSpPr>
        <p:grpSpPr>
          <a:xfrm>
            <a:off x="5735851" y="379314"/>
            <a:ext cx="6091105" cy="6091017"/>
            <a:chOff x="5735851" y="379314"/>
            <a:chExt cx="6091105" cy="6091017"/>
          </a:xfrm>
        </p:grpSpPr>
        <p:sp>
          <p:nvSpPr>
            <p:cNvPr id="5" name="Freeform: Shape 4">
              <a:extLst>
                <a:ext uri="{FF2B5EF4-FFF2-40B4-BE49-F238E27FC236}">
                  <a16:creationId xmlns:a16="http://schemas.microsoft.com/office/drawing/2014/main" id="{15EB8161-E565-4DD5-BEFB-11D099AE6540}"/>
                </a:ext>
              </a:extLst>
            </p:cNvPr>
            <p:cNvSpPr/>
            <p:nvPr/>
          </p:nvSpPr>
          <p:spPr>
            <a:xfrm>
              <a:off x="8781403" y="379314"/>
              <a:ext cx="3045552" cy="1522754"/>
            </a:xfrm>
            <a:custGeom>
              <a:avLst/>
              <a:gdLst>
                <a:gd name="connsiteX0" fmla="*/ 761388 w 3045552"/>
                <a:gd name="connsiteY0" fmla="*/ 0 h 1522754"/>
                <a:gd name="connsiteX1" fmla="*/ 2284165 w 3045552"/>
                <a:gd name="connsiteY1" fmla="*/ 0 h 1522754"/>
                <a:gd name="connsiteX2" fmla="*/ 3045553 w 3045552"/>
                <a:gd name="connsiteY2" fmla="*/ 761377 h 1522754"/>
                <a:gd name="connsiteX3" fmla="*/ 2284165 w 3045552"/>
                <a:gd name="connsiteY3" fmla="*/ 1522754 h 1522754"/>
                <a:gd name="connsiteX4" fmla="*/ 761388 w 3045552"/>
                <a:gd name="connsiteY4" fmla="*/ 1522754 h 1522754"/>
                <a:gd name="connsiteX5" fmla="*/ 0 w 3045552"/>
                <a:gd name="connsiteY5" fmla="*/ 761377 h 1522754"/>
                <a:gd name="connsiteX6" fmla="*/ 761388 w 3045552"/>
                <a:gd name="connsiteY6"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552" h="1522754">
                  <a:moveTo>
                    <a:pt x="761388" y="0"/>
                  </a:moveTo>
                  <a:lnTo>
                    <a:pt x="2284165" y="0"/>
                  </a:lnTo>
                  <a:cubicBezTo>
                    <a:pt x="2704831" y="0"/>
                    <a:pt x="3045553" y="340716"/>
                    <a:pt x="3045553" y="761377"/>
                  </a:cubicBezTo>
                  <a:cubicBezTo>
                    <a:pt x="3045553" y="1182038"/>
                    <a:pt x="2704831" y="1522754"/>
                    <a:pt x="2284165" y="1522754"/>
                  </a:cubicBezTo>
                  <a:lnTo>
                    <a:pt x="761388" y="1522754"/>
                  </a:lnTo>
                  <a:cubicBezTo>
                    <a:pt x="340721" y="1522754"/>
                    <a:pt x="0" y="1182038"/>
                    <a:pt x="0" y="761377"/>
                  </a:cubicBezTo>
                  <a:cubicBezTo>
                    <a:pt x="0" y="340716"/>
                    <a:pt x="340721" y="0"/>
                    <a:pt x="761388" y="0"/>
                  </a:cubicBezTo>
                </a:path>
              </a:pathLst>
            </a:custGeom>
            <a:solidFill>
              <a:srgbClr val="03A680"/>
            </a:solidFill>
            <a:ln w="6340" cap="flat">
              <a:noFill/>
              <a:prstDash val="solid"/>
              <a:miter/>
            </a:ln>
          </p:spPr>
          <p:txBody>
            <a:bodyPr rtlCol="0" anchor="ctr"/>
            <a:lstStyle/>
            <a:p>
              <a:endParaRPr lang="nb-NO"/>
            </a:p>
          </p:txBody>
        </p:sp>
        <p:sp>
          <p:nvSpPr>
            <p:cNvPr id="7" name="Freeform: Shape 6">
              <a:extLst>
                <a:ext uri="{FF2B5EF4-FFF2-40B4-BE49-F238E27FC236}">
                  <a16:creationId xmlns:a16="http://schemas.microsoft.com/office/drawing/2014/main" id="{9D2061A7-F2FA-4F97-886F-BF3A54C0B1B7}"/>
                </a:ext>
              </a:extLst>
            </p:cNvPr>
            <p:cNvSpPr/>
            <p:nvPr/>
          </p:nvSpPr>
          <p:spPr>
            <a:xfrm>
              <a:off x="5735851" y="1902068"/>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8" name="Freeform: Shape 7">
              <a:extLst>
                <a:ext uri="{FF2B5EF4-FFF2-40B4-BE49-F238E27FC236}">
                  <a16:creationId xmlns:a16="http://schemas.microsoft.com/office/drawing/2014/main" id="{F0B45170-F883-4372-AB40-6375CC91D451}"/>
                </a:ext>
              </a:extLst>
            </p:cNvPr>
            <p:cNvSpPr/>
            <p:nvPr/>
          </p:nvSpPr>
          <p:spPr>
            <a:xfrm>
              <a:off x="10304179" y="1902068"/>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sp>
          <p:nvSpPr>
            <p:cNvPr id="9" name="Freeform: Shape 8">
              <a:extLst>
                <a:ext uri="{FF2B5EF4-FFF2-40B4-BE49-F238E27FC236}">
                  <a16:creationId xmlns:a16="http://schemas.microsoft.com/office/drawing/2014/main" id="{3C749AFA-51A4-47BD-B37F-96871EBF72AF}"/>
                </a:ext>
              </a:extLst>
            </p:cNvPr>
            <p:cNvSpPr/>
            <p:nvPr/>
          </p:nvSpPr>
          <p:spPr>
            <a:xfrm>
              <a:off x="8781403" y="3424822"/>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12" name="Freeform: Shape 11">
              <a:extLst>
                <a:ext uri="{FF2B5EF4-FFF2-40B4-BE49-F238E27FC236}">
                  <a16:creationId xmlns:a16="http://schemas.microsoft.com/office/drawing/2014/main" id="{8D970173-6A87-4BFC-87EC-D04AFE918EF8}"/>
                </a:ext>
              </a:extLst>
            </p:cNvPr>
            <p:cNvSpPr/>
            <p:nvPr/>
          </p:nvSpPr>
          <p:spPr>
            <a:xfrm>
              <a:off x="5735851" y="379314"/>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13" name="Freeform: Shape 12">
              <a:extLst>
                <a:ext uri="{FF2B5EF4-FFF2-40B4-BE49-F238E27FC236}">
                  <a16:creationId xmlns:a16="http://schemas.microsoft.com/office/drawing/2014/main" id="{DC6ACE94-4986-4C7C-9CD3-7371E2DBDFB5}"/>
                </a:ext>
              </a:extLst>
            </p:cNvPr>
            <p:cNvSpPr/>
            <p:nvPr/>
          </p:nvSpPr>
          <p:spPr>
            <a:xfrm>
              <a:off x="5735851" y="4947576"/>
              <a:ext cx="1522776" cy="1522754"/>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7AF0B2"/>
            </a:solidFill>
            <a:ln w="6340" cap="flat">
              <a:noFill/>
              <a:prstDash val="solid"/>
              <a:miter/>
            </a:ln>
          </p:spPr>
          <p:txBody>
            <a:bodyPr rtlCol="0" anchor="ctr"/>
            <a:lstStyle/>
            <a:p>
              <a:endParaRPr lang="nb-NO"/>
            </a:p>
          </p:txBody>
        </p:sp>
        <p:sp>
          <p:nvSpPr>
            <p:cNvPr id="14" name="Freeform: Shape 13">
              <a:extLst>
                <a:ext uri="{FF2B5EF4-FFF2-40B4-BE49-F238E27FC236}">
                  <a16:creationId xmlns:a16="http://schemas.microsoft.com/office/drawing/2014/main" id="{EA6B3921-A274-4614-B3DD-F91E03194E96}"/>
                </a:ext>
              </a:extLst>
            </p:cNvPr>
            <p:cNvSpPr/>
            <p:nvPr/>
          </p:nvSpPr>
          <p:spPr>
            <a:xfrm>
              <a:off x="10304179" y="3424822"/>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15" name="Freeform: Shape 14">
              <a:extLst>
                <a:ext uri="{FF2B5EF4-FFF2-40B4-BE49-F238E27FC236}">
                  <a16:creationId xmlns:a16="http://schemas.microsoft.com/office/drawing/2014/main" id="{03E9C82B-B1B2-45AF-9286-0EB1E8A58E1A}"/>
                </a:ext>
              </a:extLst>
            </p:cNvPr>
            <p:cNvSpPr/>
            <p:nvPr/>
          </p:nvSpPr>
          <p:spPr>
            <a:xfrm>
              <a:off x="8781403" y="4947576"/>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16" name="Freeform: Shape 15">
              <a:extLst>
                <a:ext uri="{FF2B5EF4-FFF2-40B4-BE49-F238E27FC236}">
                  <a16:creationId xmlns:a16="http://schemas.microsoft.com/office/drawing/2014/main" id="{895DEFAF-AF35-44B4-9336-B085B35EDF6B}"/>
                </a:ext>
              </a:extLst>
            </p:cNvPr>
            <p:cNvSpPr/>
            <p:nvPr/>
          </p:nvSpPr>
          <p:spPr>
            <a:xfrm>
              <a:off x="7258627" y="379314"/>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17" name="Freeform: Shape 16">
              <a:extLst>
                <a:ext uri="{FF2B5EF4-FFF2-40B4-BE49-F238E27FC236}">
                  <a16:creationId xmlns:a16="http://schemas.microsoft.com/office/drawing/2014/main" id="{A2361C7D-FAF8-42BD-AC24-8668CC828068}"/>
                </a:ext>
              </a:extLst>
            </p:cNvPr>
            <p:cNvSpPr/>
            <p:nvPr/>
          </p:nvSpPr>
          <p:spPr>
            <a:xfrm>
              <a:off x="7258627" y="1902068"/>
              <a:ext cx="1522776" cy="3045508"/>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18" name="Freeform: Shape 17">
              <a:extLst>
                <a:ext uri="{FF2B5EF4-FFF2-40B4-BE49-F238E27FC236}">
                  <a16:creationId xmlns:a16="http://schemas.microsoft.com/office/drawing/2014/main" id="{0B3EAD2E-E6B2-4BAA-9CCC-C64277DD5FAA}"/>
                </a:ext>
              </a:extLst>
            </p:cNvPr>
            <p:cNvSpPr/>
            <p:nvPr/>
          </p:nvSpPr>
          <p:spPr>
            <a:xfrm>
              <a:off x="7258627" y="1902068"/>
              <a:ext cx="1522776" cy="1522754"/>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grpSp>
    </p:spTree>
    <p:extLst>
      <p:ext uri="{BB962C8B-B14F-4D97-AF65-F5344CB8AC3E}">
        <p14:creationId xmlns:p14="http://schemas.microsoft.com/office/powerpoint/2010/main" val="40072849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lsides bil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3BFC534-7982-4E33-A724-8826C497D45A}"/>
              </a:ext>
            </a:extLst>
          </p:cNvPr>
          <p:cNvSpPr>
            <a:spLocks noGrp="1"/>
          </p:cNvSpPr>
          <p:nvPr>
            <p:ph type="pic" sz="quarter" idx="10"/>
          </p:nvPr>
        </p:nvSpPr>
        <p:spPr>
          <a:xfrm>
            <a:off x="0" y="0"/>
            <a:ext cx="12192000" cy="6858000"/>
          </a:xfrm>
          <a:solidFill>
            <a:srgbClr val="BCBEC0"/>
          </a:solidFill>
        </p:spPr>
        <p:txBody>
          <a:bodyPr/>
          <a:lstStyle/>
          <a:p>
            <a:r>
              <a:rPr lang="nb-NO"/>
              <a:t>Klikk på ikonet for å legge til et bilde</a:t>
            </a:r>
          </a:p>
        </p:txBody>
      </p:sp>
      <p:sp>
        <p:nvSpPr>
          <p:cNvPr id="6" name="Text Placeholder 7">
            <a:extLst>
              <a:ext uri="{FF2B5EF4-FFF2-40B4-BE49-F238E27FC236}">
                <a16:creationId xmlns:a16="http://schemas.microsoft.com/office/drawing/2014/main" id="{0BEBC3A0-D734-4604-9FC7-250CB84DEC2A}"/>
              </a:ext>
            </a:extLst>
          </p:cNvPr>
          <p:cNvSpPr>
            <a:spLocks noGrp="1"/>
          </p:cNvSpPr>
          <p:nvPr>
            <p:ph type="body" sz="quarter" idx="11"/>
          </p:nvPr>
        </p:nvSpPr>
        <p:spPr>
          <a:xfrm>
            <a:off x="4069137" y="3724275"/>
            <a:ext cx="8932862" cy="1620000"/>
          </a:xfrm>
          <a:prstGeom prst="roundRect">
            <a:avLst>
              <a:gd name="adj" fmla="val 50000"/>
            </a:avLst>
          </a:prstGeom>
          <a:solidFill>
            <a:srgbClr val="015945"/>
          </a:solidFill>
        </p:spPr>
        <p:txBody>
          <a:bodyPr lIns="468000" rIns="972000" anchor="ctr" anchorCtr="0"/>
          <a:lstStyle>
            <a:lvl1pPr marL="0" indent="0">
              <a:lnSpc>
                <a:spcPct val="100000"/>
              </a:lnSpc>
              <a:buNone/>
              <a:defRPr sz="3600"/>
            </a:lvl1pPr>
          </a:lstStyle>
          <a:p>
            <a:pPr lvl="0"/>
            <a:r>
              <a:rPr lang="nb-NO"/>
              <a:t>Klikk for å redigere tekststiler i malen</a:t>
            </a:r>
          </a:p>
        </p:txBody>
      </p:sp>
      <p:sp>
        <p:nvSpPr>
          <p:cNvPr id="7" name="Text Placeholder 11">
            <a:extLst>
              <a:ext uri="{FF2B5EF4-FFF2-40B4-BE49-F238E27FC236}">
                <a16:creationId xmlns:a16="http://schemas.microsoft.com/office/drawing/2014/main" id="{4E65C3B4-2DEA-4AD9-8319-4ED2A0E077DC}"/>
              </a:ext>
            </a:extLst>
          </p:cNvPr>
          <p:cNvSpPr>
            <a:spLocks noGrp="1"/>
          </p:cNvSpPr>
          <p:nvPr>
            <p:ph type="body" sz="quarter" idx="13" hasCustomPrompt="1"/>
          </p:nvPr>
        </p:nvSpPr>
        <p:spPr>
          <a:xfrm>
            <a:off x="2449138" y="3724274"/>
            <a:ext cx="1619999" cy="1619999"/>
          </a:xfrm>
          <a:prstGeom prst="ellipse">
            <a:avLst/>
          </a:prstGeom>
          <a:solidFill>
            <a:srgbClr val="7BEFB2"/>
          </a:solidFill>
        </p:spPr>
        <p:txBody>
          <a:bodyPr wrap="square" bIns="72000" anchor="ctr" anchorCtr="0"/>
          <a:lstStyle>
            <a:lvl1pPr marL="0" indent="0" algn="ctr">
              <a:buNone/>
              <a:defRPr sz="6000">
                <a:solidFill>
                  <a:schemeClr val="bg2"/>
                </a:solidFill>
              </a:defRPr>
            </a:lvl1pPr>
          </a:lstStyle>
          <a:p>
            <a:pPr lvl="0"/>
            <a:r>
              <a:rPr lang="nb-NO"/>
              <a:t> </a:t>
            </a:r>
          </a:p>
        </p:txBody>
      </p:sp>
    </p:spTree>
    <p:extLst>
      <p:ext uri="{BB962C8B-B14F-4D97-AF65-F5344CB8AC3E}">
        <p14:creationId xmlns:p14="http://schemas.microsoft.com/office/powerpoint/2010/main" val="3839767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lsides bilde (alternativ)">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3BFC534-7982-4E33-A724-8826C497D45A}"/>
              </a:ext>
            </a:extLst>
          </p:cNvPr>
          <p:cNvSpPr>
            <a:spLocks noGrp="1"/>
          </p:cNvSpPr>
          <p:nvPr>
            <p:ph type="pic" sz="quarter" idx="10"/>
          </p:nvPr>
        </p:nvSpPr>
        <p:spPr>
          <a:xfrm>
            <a:off x="0" y="0"/>
            <a:ext cx="12192000" cy="6858000"/>
          </a:xfrm>
          <a:solidFill>
            <a:srgbClr val="BCBEC0"/>
          </a:solidFill>
        </p:spPr>
        <p:txBody>
          <a:bodyPr/>
          <a:lstStyle/>
          <a:p>
            <a:r>
              <a:rPr lang="nb-NO"/>
              <a:t>Klikk på ikonet for å legge til et bilde</a:t>
            </a:r>
          </a:p>
        </p:txBody>
      </p:sp>
      <p:sp>
        <p:nvSpPr>
          <p:cNvPr id="8" name="Text Placeholder 7">
            <a:extLst>
              <a:ext uri="{FF2B5EF4-FFF2-40B4-BE49-F238E27FC236}">
                <a16:creationId xmlns:a16="http://schemas.microsoft.com/office/drawing/2014/main" id="{EA317BF8-CEC2-4649-94F5-12F566C39DFB}"/>
              </a:ext>
            </a:extLst>
          </p:cNvPr>
          <p:cNvSpPr>
            <a:spLocks noGrp="1"/>
          </p:cNvSpPr>
          <p:nvPr>
            <p:ph type="body" sz="quarter" idx="11"/>
          </p:nvPr>
        </p:nvSpPr>
        <p:spPr>
          <a:xfrm>
            <a:off x="-1000123" y="3724275"/>
            <a:ext cx="8932862" cy="1620000"/>
          </a:xfrm>
          <a:prstGeom prst="roundRect">
            <a:avLst>
              <a:gd name="adj" fmla="val 50000"/>
            </a:avLst>
          </a:prstGeom>
          <a:solidFill>
            <a:srgbClr val="015945"/>
          </a:solidFill>
        </p:spPr>
        <p:txBody>
          <a:bodyPr lIns="1116000" rIns="468000" anchor="ctr" anchorCtr="0"/>
          <a:lstStyle>
            <a:lvl1pPr marL="0" indent="0">
              <a:lnSpc>
                <a:spcPct val="100000"/>
              </a:lnSpc>
              <a:buNone/>
              <a:defRPr sz="3600"/>
            </a:lvl1pPr>
          </a:lstStyle>
          <a:p>
            <a:pPr lvl="0"/>
            <a:r>
              <a:rPr lang="nb-NO"/>
              <a:t>Klikk for å redigere tekststiler i malen</a:t>
            </a:r>
          </a:p>
        </p:txBody>
      </p:sp>
      <p:sp>
        <p:nvSpPr>
          <p:cNvPr id="12" name="Text Placeholder 11">
            <a:extLst>
              <a:ext uri="{FF2B5EF4-FFF2-40B4-BE49-F238E27FC236}">
                <a16:creationId xmlns:a16="http://schemas.microsoft.com/office/drawing/2014/main" id="{F56D31FE-CDD5-4D8E-B9B7-5F97AFAC3FC2}"/>
              </a:ext>
            </a:extLst>
          </p:cNvPr>
          <p:cNvSpPr>
            <a:spLocks noGrp="1"/>
          </p:cNvSpPr>
          <p:nvPr>
            <p:ph type="body" sz="quarter" idx="13" hasCustomPrompt="1"/>
          </p:nvPr>
        </p:nvSpPr>
        <p:spPr>
          <a:xfrm>
            <a:off x="7932739" y="3724274"/>
            <a:ext cx="1619999" cy="1619999"/>
          </a:xfrm>
          <a:prstGeom prst="ellipse">
            <a:avLst/>
          </a:prstGeom>
          <a:solidFill>
            <a:srgbClr val="7BEFB2"/>
          </a:solidFill>
        </p:spPr>
        <p:txBody>
          <a:bodyPr wrap="square" bIns="72000" anchor="ctr" anchorCtr="0"/>
          <a:lstStyle>
            <a:lvl1pPr marL="0" indent="0" algn="ctr">
              <a:buNone/>
              <a:defRPr sz="6000">
                <a:solidFill>
                  <a:schemeClr val="bg2"/>
                </a:solidFill>
              </a:defRPr>
            </a:lvl1pPr>
          </a:lstStyle>
          <a:p>
            <a:pPr lvl="0"/>
            <a:r>
              <a:rPr lang="nb-NO"/>
              <a:t> </a:t>
            </a:r>
          </a:p>
        </p:txBody>
      </p:sp>
    </p:spTree>
    <p:extLst>
      <p:ext uri="{BB962C8B-B14F-4D97-AF65-F5344CB8AC3E}">
        <p14:creationId xmlns:p14="http://schemas.microsoft.com/office/powerpoint/2010/main" val="2979366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grpSp>
        <p:nvGrpSpPr>
          <p:cNvPr id="2" name="Graphic 5">
            <a:extLst>
              <a:ext uri="{FF2B5EF4-FFF2-40B4-BE49-F238E27FC236}">
                <a16:creationId xmlns:a16="http://schemas.microsoft.com/office/drawing/2014/main" id="{313E9F5C-37A4-4686-8EA0-323A664996F8}"/>
              </a:ext>
            </a:extLst>
          </p:cNvPr>
          <p:cNvGrpSpPr/>
          <p:nvPr userDrawn="1"/>
        </p:nvGrpSpPr>
        <p:grpSpPr>
          <a:xfrm>
            <a:off x="4829175" y="3319876"/>
            <a:ext cx="2533650" cy="218248"/>
            <a:chOff x="375603" y="6363759"/>
            <a:chExt cx="1683184" cy="144991"/>
          </a:xfrm>
        </p:grpSpPr>
        <p:sp>
          <p:nvSpPr>
            <p:cNvPr id="3" name="Freeform: Shape 2">
              <a:extLst>
                <a:ext uri="{FF2B5EF4-FFF2-40B4-BE49-F238E27FC236}">
                  <a16:creationId xmlns:a16="http://schemas.microsoft.com/office/drawing/2014/main" id="{017105C3-6FFE-4835-8472-B5D511824965}"/>
                </a:ext>
              </a:extLst>
            </p:cNvPr>
            <p:cNvSpPr/>
            <p:nvPr/>
          </p:nvSpPr>
          <p:spPr>
            <a:xfrm>
              <a:off x="375445" y="6363601"/>
              <a:ext cx="248852" cy="145936"/>
            </a:xfrm>
            <a:custGeom>
              <a:avLst/>
              <a:gdLst>
                <a:gd name="connsiteX0" fmla="*/ 238451 w 248852"/>
                <a:gd name="connsiteY0" fmla="*/ 10874 h 145936"/>
                <a:gd name="connsiteX1" fmla="*/ 186758 w 248852"/>
                <a:gd name="connsiteY1" fmla="*/ 10874 h 145936"/>
                <a:gd name="connsiteX2" fmla="*/ 135695 w 248852"/>
                <a:gd name="connsiteY2" fmla="*/ 61936 h 145936"/>
                <a:gd name="connsiteX3" fmla="*/ 135064 w 248852"/>
                <a:gd name="connsiteY3" fmla="*/ 10874 h 145936"/>
                <a:gd name="connsiteX4" fmla="*/ 83371 w 248852"/>
                <a:gd name="connsiteY4" fmla="*/ 10874 h 145936"/>
                <a:gd name="connsiteX5" fmla="*/ 10875 w 248852"/>
                <a:gd name="connsiteY5" fmla="*/ 83370 h 145936"/>
                <a:gd name="connsiteX6" fmla="*/ 10875 w 248852"/>
                <a:gd name="connsiteY6" fmla="*/ 135062 h 145936"/>
                <a:gd name="connsiteX7" fmla="*/ 62568 w 248852"/>
                <a:gd name="connsiteY7" fmla="*/ 135062 h 145936"/>
                <a:gd name="connsiteX8" fmla="*/ 113631 w 248852"/>
                <a:gd name="connsiteY8" fmla="*/ 84000 h 145936"/>
                <a:gd name="connsiteX9" fmla="*/ 114261 w 248852"/>
                <a:gd name="connsiteY9" fmla="*/ 135062 h 145936"/>
                <a:gd name="connsiteX10" fmla="*/ 165954 w 248852"/>
                <a:gd name="connsiteY10" fmla="*/ 135062 h 145936"/>
                <a:gd name="connsiteX11" fmla="*/ 238451 w 248852"/>
                <a:gd name="connsiteY11" fmla="*/ 62567 h 145936"/>
                <a:gd name="connsiteX12" fmla="*/ 238451 w 248852"/>
                <a:gd name="connsiteY12" fmla="*/ 10874 h 14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8852" h="145936">
                  <a:moveTo>
                    <a:pt x="238451" y="10874"/>
                  </a:moveTo>
                  <a:cubicBezTo>
                    <a:pt x="223952" y="-3625"/>
                    <a:pt x="201257" y="-3625"/>
                    <a:pt x="186758" y="10874"/>
                  </a:cubicBezTo>
                  <a:lnTo>
                    <a:pt x="135695" y="61936"/>
                  </a:lnTo>
                  <a:cubicBezTo>
                    <a:pt x="149564" y="47437"/>
                    <a:pt x="149564" y="24743"/>
                    <a:pt x="135064" y="10874"/>
                  </a:cubicBezTo>
                  <a:cubicBezTo>
                    <a:pt x="120565" y="-3625"/>
                    <a:pt x="97871" y="-3625"/>
                    <a:pt x="83371" y="10874"/>
                  </a:cubicBezTo>
                  <a:lnTo>
                    <a:pt x="10875" y="83370"/>
                  </a:lnTo>
                  <a:cubicBezTo>
                    <a:pt x="-3625" y="97869"/>
                    <a:pt x="-3625" y="120563"/>
                    <a:pt x="10875" y="135062"/>
                  </a:cubicBezTo>
                  <a:cubicBezTo>
                    <a:pt x="25374" y="149561"/>
                    <a:pt x="48068" y="149561"/>
                    <a:pt x="62568" y="135062"/>
                  </a:cubicBezTo>
                  <a:lnTo>
                    <a:pt x="113631" y="84000"/>
                  </a:lnTo>
                  <a:cubicBezTo>
                    <a:pt x="99762" y="98499"/>
                    <a:pt x="99762" y="121194"/>
                    <a:pt x="114261" y="135062"/>
                  </a:cubicBezTo>
                  <a:cubicBezTo>
                    <a:pt x="128760" y="149561"/>
                    <a:pt x="151455" y="149561"/>
                    <a:pt x="165954" y="135062"/>
                  </a:cubicBezTo>
                  <a:lnTo>
                    <a:pt x="238451" y="62567"/>
                  </a:lnTo>
                  <a:cubicBezTo>
                    <a:pt x="252320" y="48068"/>
                    <a:pt x="252320" y="24743"/>
                    <a:pt x="238451" y="10874"/>
                  </a:cubicBezTo>
                </a:path>
              </a:pathLst>
            </a:custGeom>
            <a:solidFill>
              <a:srgbClr val="FFFFFF"/>
            </a:solidFill>
            <a:ln w="6279" cap="flat">
              <a:noFill/>
              <a:prstDash val="solid"/>
              <a:miter/>
            </a:ln>
          </p:spPr>
          <p:txBody>
            <a:bodyPr rtlCol="0" anchor="ctr"/>
            <a:lstStyle/>
            <a:p>
              <a:endParaRPr lang="nb-NO"/>
            </a:p>
          </p:txBody>
        </p:sp>
        <p:sp>
          <p:nvSpPr>
            <p:cNvPr id="4" name="Freeform: Shape 3">
              <a:extLst>
                <a:ext uri="{FF2B5EF4-FFF2-40B4-BE49-F238E27FC236}">
                  <a16:creationId xmlns:a16="http://schemas.microsoft.com/office/drawing/2014/main" id="{091AD4F1-DCDF-4BAF-B1A5-9C94FEF610B3}"/>
                </a:ext>
              </a:extLst>
            </p:cNvPr>
            <p:cNvSpPr/>
            <p:nvPr/>
          </p:nvSpPr>
          <p:spPr>
            <a:xfrm>
              <a:off x="727369" y="6366910"/>
              <a:ext cx="113473" cy="139317"/>
            </a:xfrm>
            <a:custGeom>
              <a:avLst/>
              <a:gdLst>
                <a:gd name="connsiteX0" fmla="*/ 93300 w 113473"/>
                <a:gd name="connsiteY0" fmla="*/ 42237 h 139317"/>
                <a:gd name="connsiteX1" fmla="*/ 93300 w 113473"/>
                <a:gd name="connsiteY1" fmla="*/ 0 h 139317"/>
                <a:gd name="connsiteX2" fmla="*/ 113473 w 113473"/>
                <a:gd name="connsiteY2" fmla="*/ 0 h 139317"/>
                <a:gd name="connsiteX3" fmla="*/ 113473 w 113473"/>
                <a:gd name="connsiteY3" fmla="*/ 139317 h 139317"/>
                <a:gd name="connsiteX4" fmla="*/ 89518 w 113473"/>
                <a:gd name="connsiteY4" fmla="*/ 139317 h 139317"/>
                <a:gd name="connsiteX5" fmla="*/ 46650 w 113473"/>
                <a:gd name="connsiteY5" fmla="*/ 71865 h 139317"/>
                <a:gd name="connsiteX6" fmla="*/ 19543 w 113473"/>
                <a:gd name="connsiteY6" fmla="*/ 27107 h 139317"/>
                <a:gd name="connsiteX7" fmla="*/ 20173 w 113473"/>
                <a:gd name="connsiteY7" fmla="*/ 97081 h 139317"/>
                <a:gd name="connsiteX8" fmla="*/ 20173 w 113473"/>
                <a:gd name="connsiteY8" fmla="*/ 139317 h 139317"/>
                <a:gd name="connsiteX9" fmla="*/ 0 w 113473"/>
                <a:gd name="connsiteY9" fmla="*/ 139317 h 139317"/>
                <a:gd name="connsiteX10" fmla="*/ 0 w 113473"/>
                <a:gd name="connsiteY10" fmla="*/ 0 h 139317"/>
                <a:gd name="connsiteX11" fmla="*/ 23955 w 113473"/>
                <a:gd name="connsiteY11" fmla="*/ 0 h 139317"/>
                <a:gd name="connsiteX12" fmla="*/ 66823 w 113473"/>
                <a:gd name="connsiteY12" fmla="*/ 67452 h 139317"/>
                <a:gd name="connsiteX13" fmla="*/ 93930 w 113473"/>
                <a:gd name="connsiteY13" fmla="*/ 112210 h 139317"/>
                <a:gd name="connsiteX14" fmla="*/ 93300 w 113473"/>
                <a:gd name="connsiteY14" fmla="*/ 42237 h 13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473" h="139317">
                  <a:moveTo>
                    <a:pt x="93300" y="42237"/>
                  </a:moveTo>
                  <a:lnTo>
                    <a:pt x="93300" y="0"/>
                  </a:lnTo>
                  <a:lnTo>
                    <a:pt x="113473" y="0"/>
                  </a:lnTo>
                  <a:lnTo>
                    <a:pt x="113473" y="139317"/>
                  </a:lnTo>
                  <a:lnTo>
                    <a:pt x="89518" y="139317"/>
                  </a:lnTo>
                  <a:lnTo>
                    <a:pt x="46650" y="71865"/>
                  </a:lnTo>
                  <a:cubicBezTo>
                    <a:pt x="34042" y="52323"/>
                    <a:pt x="25216" y="37193"/>
                    <a:pt x="19543" y="27107"/>
                  </a:cubicBezTo>
                  <a:cubicBezTo>
                    <a:pt x="20173" y="42867"/>
                    <a:pt x="20173" y="66192"/>
                    <a:pt x="20173" y="97081"/>
                  </a:cubicBezTo>
                  <a:lnTo>
                    <a:pt x="20173" y="139317"/>
                  </a:lnTo>
                  <a:lnTo>
                    <a:pt x="0" y="139317"/>
                  </a:lnTo>
                  <a:lnTo>
                    <a:pt x="0" y="0"/>
                  </a:lnTo>
                  <a:lnTo>
                    <a:pt x="23955" y="0"/>
                  </a:lnTo>
                  <a:lnTo>
                    <a:pt x="66823" y="67452"/>
                  </a:lnTo>
                  <a:cubicBezTo>
                    <a:pt x="78170" y="85734"/>
                    <a:pt x="87626" y="100863"/>
                    <a:pt x="93930" y="112210"/>
                  </a:cubicBezTo>
                  <a:cubicBezTo>
                    <a:pt x="93300" y="97081"/>
                    <a:pt x="93300" y="73756"/>
                    <a:pt x="93300" y="42237"/>
                  </a:cubicBezTo>
                </a:path>
              </a:pathLst>
            </a:custGeom>
            <a:solidFill>
              <a:srgbClr val="FFFFFF"/>
            </a:solidFill>
            <a:ln w="6279" cap="flat">
              <a:noFill/>
              <a:prstDash val="solid"/>
              <a:miter/>
            </a:ln>
          </p:spPr>
          <p:txBody>
            <a:bodyPr rtlCol="0" anchor="ctr"/>
            <a:lstStyle/>
            <a:p>
              <a:endParaRPr lang="nb-NO"/>
            </a:p>
          </p:txBody>
        </p:sp>
        <p:sp>
          <p:nvSpPr>
            <p:cNvPr id="5" name="Freeform: Shape 4">
              <a:extLst>
                <a:ext uri="{FF2B5EF4-FFF2-40B4-BE49-F238E27FC236}">
                  <a16:creationId xmlns:a16="http://schemas.microsoft.com/office/drawing/2014/main" id="{E952AC34-D787-4ABF-AF0F-FE9288CB7382}"/>
                </a:ext>
              </a:extLst>
            </p:cNvPr>
            <p:cNvSpPr/>
            <p:nvPr/>
          </p:nvSpPr>
          <p:spPr>
            <a:xfrm>
              <a:off x="859124" y="6402843"/>
              <a:ext cx="99604" cy="105906"/>
            </a:xfrm>
            <a:custGeom>
              <a:avLst/>
              <a:gdLst>
                <a:gd name="connsiteX0" fmla="*/ 28368 w 99604"/>
                <a:gd name="connsiteY0" fmla="*/ 79430 h 105906"/>
                <a:gd name="connsiteX1" fmla="*/ 49802 w 99604"/>
                <a:gd name="connsiteY1" fmla="*/ 88886 h 105906"/>
                <a:gd name="connsiteX2" fmla="*/ 71236 w 99604"/>
                <a:gd name="connsiteY2" fmla="*/ 79430 h 105906"/>
                <a:gd name="connsiteX3" fmla="*/ 79431 w 99604"/>
                <a:gd name="connsiteY3" fmla="*/ 52953 h 105906"/>
                <a:gd name="connsiteX4" fmla="*/ 71236 w 99604"/>
                <a:gd name="connsiteY4" fmla="*/ 26477 h 105906"/>
                <a:gd name="connsiteX5" fmla="*/ 49802 w 99604"/>
                <a:gd name="connsiteY5" fmla="*/ 17021 h 105906"/>
                <a:gd name="connsiteX6" fmla="*/ 28368 w 99604"/>
                <a:gd name="connsiteY6" fmla="*/ 26477 h 105906"/>
                <a:gd name="connsiteX7" fmla="*/ 20173 w 99604"/>
                <a:gd name="connsiteY7" fmla="*/ 52953 h 105906"/>
                <a:gd name="connsiteX8" fmla="*/ 28368 w 99604"/>
                <a:gd name="connsiteY8" fmla="*/ 79430 h 105906"/>
                <a:gd name="connsiteX9" fmla="*/ 86366 w 99604"/>
                <a:gd name="connsiteY9" fmla="*/ 91407 h 105906"/>
                <a:gd name="connsiteX10" fmla="*/ 49802 w 99604"/>
                <a:gd name="connsiteY10" fmla="*/ 105906 h 105906"/>
                <a:gd name="connsiteX11" fmla="*/ 13869 w 99604"/>
                <a:gd name="connsiteY11" fmla="*/ 91407 h 105906"/>
                <a:gd name="connsiteX12" fmla="*/ 0 w 99604"/>
                <a:gd name="connsiteY12" fmla="*/ 52953 h 105906"/>
                <a:gd name="connsiteX13" fmla="*/ 13869 w 99604"/>
                <a:gd name="connsiteY13" fmla="*/ 14499 h 105906"/>
                <a:gd name="connsiteX14" fmla="*/ 49802 w 99604"/>
                <a:gd name="connsiteY14" fmla="*/ 0 h 105906"/>
                <a:gd name="connsiteX15" fmla="*/ 85735 w 99604"/>
                <a:gd name="connsiteY15" fmla="*/ 14499 h 105906"/>
                <a:gd name="connsiteX16" fmla="*/ 99604 w 99604"/>
                <a:gd name="connsiteY16" fmla="*/ 52953 h 105906"/>
                <a:gd name="connsiteX17" fmla="*/ 86366 w 99604"/>
                <a:gd name="connsiteY17" fmla="*/ 91407 h 10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604" h="105906">
                  <a:moveTo>
                    <a:pt x="28368" y="79430"/>
                  </a:moveTo>
                  <a:cubicBezTo>
                    <a:pt x="33412" y="85734"/>
                    <a:pt x="40976" y="88886"/>
                    <a:pt x="49802" y="88886"/>
                  </a:cubicBezTo>
                  <a:cubicBezTo>
                    <a:pt x="58628" y="88886"/>
                    <a:pt x="66193" y="85734"/>
                    <a:pt x="71236" y="79430"/>
                  </a:cubicBezTo>
                  <a:cubicBezTo>
                    <a:pt x="76279" y="73126"/>
                    <a:pt x="79431" y="64300"/>
                    <a:pt x="79431" y="52953"/>
                  </a:cubicBezTo>
                  <a:cubicBezTo>
                    <a:pt x="79431" y="41606"/>
                    <a:pt x="76910" y="32781"/>
                    <a:pt x="71236" y="26477"/>
                  </a:cubicBezTo>
                  <a:cubicBezTo>
                    <a:pt x="66193" y="20173"/>
                    <a:pt x="58628" y="17021"/>
                    <a:pt x="49802" y="17021"/>
                  </a:cubicBezTo>
                  <a:cubicBezTo>
                    <a:pt x="40976" y="17021"/>
                    <a:pt x="33412" y="20173"/>
                    <a:pt x="28368" y="26477"/>
                  </a:cubicBezTo>
                  <a:cubicBezTo>
                    <a:pt x="23325" y="32781"/>
                    <a:pt x="20173" y="41606"/>
                    <a:pt x="20173" y="52953"/>
                  </a:cubicBezTo>
                  <a:cubicBezTo>
                    <a:pt x="20173" y="64300"/>
                    <a:pt x="22695" y="73126"/>
                    <a:pt x="28368" y="79430"/>
                  </a:cubicBezTo>
                  <a:moveTo>
                    <a:pt x="86366" y="91407"/>
                  </a:moveTo>
                  <a:cubicBezTo>
                    <a:pt x="76910" y="100863"/>
                    <a:pt x="64932" y="105906"/>
                    <a:pt x="49802" y="105906"/>
                  </a:cubicBezTo>
                  <a:cubicBezTo>
                    <a:pt x="34672" y="105906"/>
                    <a:pt x="22695" y="100863"/>
                    <a:pt x="13869" y="91407"/>
                  </a:cubicBezTo>
                  <a:cubicBezTo>
                    <a:pt x="4413" y="81951"/>
                    <a:pt x="0" y="68713"/>
                    <a:pt x="0" y="52953"/>
                  </a:cubicBezTo>
                  <a:cubicBezTo>
                    <a:pt x="0" y="37193"/>
                    <a:pt x="4413" y="23955"/>
                    <a:pt x="13869" y="14499"/>
                  </a:cubicBezTo>
                  <a:cubicBezTo>
                    <a:pt x="22695" y="5043"/>
                    <a:pt x="35303" y="0"/>
                    <a:pt x="49802" y="0"/>
                  </a:cubicBezTo>
                  <a:cubicBezTo>
                    <a:pt x="64932" y="0"/>
                    <a:pt x="76910" y="5043"/>
                    <a:pt x="85735" y="14499"/>
                  </a:cubicBezTo>
                  <a:cubicBezTo>
                    <a:pt x="94561" y="23955"/>
                    <a:pt x="99604" y="37193"/>
                    <a:pt x="99604" y="52953"/>
                  </a:cubicBezTo>
                  <a:cubicBezTo>
                    <a:pt x="99604" y="68713"/>
                    <a:pt x="95191" y="81951"/>
                    <a:pt x="86366" y="91407"/>
                  </a:cubicBezTo>
                </a:path>
              </a:pathLst>
            </a:custGeom>
            <a:solidFill>
              <a:srgbClr val="FFFFFF"/>
            </a:solidFill>
            <a:ln w="6279" cap="flat">
              <a:noFill/>
              <a:prstDash val="solid"/>
              <a:miter/>
            </a:ln>
          </p:spPr>
          <p:txBody>
            <a:bodyPr rtlCol="0" anchor="ctr"/>
            <a:lstStyle/>
            <a:p>
              <a:endParaRPr lang="nb-NO"/>
            </a:p>
          </p:txBody>
        </p:sp>
        <p:sp>
          <p:nvSpPr>
            <p:cNvPr id="6" name="Freeform: Shape 5">
              <a:extLst>
                <a:ext uri="{FF2B5EF4-FFF2-40B4-BE49-F238E27FC236}">
                  <a16:creationId xmlns:a16="http://schemas.microsoft.com/office/drawing/2014/main" id="{B7B7FF88-4342-4009-AE08-78DA945B4AA2}"/>
                </a:ext>
              </a:extLst>
            </p:cNvPr>
            <p:cNvSpPr/>
            <p:nvPr/>
          </p:nvSpPr>
          <p:spPr>
            <a:xfrm>
              <a:off x="976379" y="6403473"/>
              <a:ext cx="56106" cy="102754"/>
            </a:xfrm>
            <a:custGeom>
              <a:avLst/>
              <a:gdLst>
                <a:gd name="connsiteX0" fmla="*/ 50432 w 56106"/>
                <a:gd name="connsiteY0" fmla="*/ 0 h 102754"/>
                <a:gd name="connsiteX1" fmla="*/ 56106 w 56106"/>
                <a:gd name="connsiteY1" fmla="*/ 0 h 102754"/>
                <a:gd name="connsiteX2" fmla="*/ 56106 w 56106"/>
                <a:gd name="connsiteY2" fmla="*/ 18912 h 102754"/>
                <a:gd name="connsiteX3" fmla="*/ 51063 w 56106"/>
                <a:gd name="connsiteY3" fmla="*/ 18912 h 102754"/>
                <a:gd name="connsiteX4" fmla="*/ 27738 w 56106"/>
                <a:gd name="connsiteY4" fmla="*/ 26477 h 102754"/>
                <a:gd name="connsiteX5" fmla="*/ 19543 w 56106"/>
                <a:gd name="connsiteY5" fmla="*/ 47910 h 102754"/>
                <a:gd name="connsiteX6" fmla="*/ 19543 w 56106"/>
                <a:gd name="connsiteY6" fmla="*/ 102754 h 102754"/>
                <a:gd name="connsiteX7" fmla="*/ 0 w 56106"/>
                <a:gd name="connsiteY7" fmla="*/ 102754 h 102754"/>
                <a:gd name="connsiteX8" fmla="*/ 0 w 56106"/>
                <a:gd name="connsiteY8" fmla="*/ 1891 h 102754"/>
                <a:gd name="connsiteX9" fmla="*/ 18912 w 56106"/>
                <a:gd name="connsiteY9" fmla="*/ 1891 h 102754"/>
                <a:gd name="connsiteX10" fmla="*/ 18912 w 56106"/>
                <a:gd name="connsiteY10" fmla="*/ 20173 h 102754"/>
                <a:gd name="connsiteX11" fmla="*/ 50432 w 56106"/>
                <a:gd name="connsiteY11" fmla="*/ 0 h 10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106" h="102754">
                  <a:moveTo>
                    <a:pt x="50432" y="0"/>
                  </a:moveTo>
                  <a:cubicBezTo>
                    <a:pt x="53585" y="0"/>
                    <a:pt x="55476" y="0"/>
                    <a:pt x="56106" y="0"/>
                  </a:cubicBezTo>
                  <a:lnTo>
                    <a:pt x="56106" y="18912"/>
                  </a:lnTo>
                  <a:lnTo>
                    <a:pt x="51063" y="18912"/>
                  </a:lnTo>
                  <a:cubicBezTo>
                    <a:pt x="40976" y="18912"/>
                    <a:pt x="33411" y="21433"/>
                    <a:pt x="27738" y="26477"/>
                  </a:cubicBezTo>
                  <a:cubicBezTo>
                    <a:pt x="22064" y="31520"/>
                    <a:pt x="19543" y="38454"/>
                    <a:pt x="19543" y="47910"/>
                  </a:cubicBezTo>
                  <a:lnTo>
                    <a:pt x="19543" y="102754"/>
                  </a:lnTo>
                  <a:lnTo>
                    <a:pt x="0" y="102754"/>
                  </a:lnTo>
                  <a:lnTo>
                    <a:pt x="0" y="1891"/>
                  </a:lnTo>
                  <a:lnTo>
                    <a:pt x="18912" y="1891"/>
                  </a:lnTo>
                  <a:lnTo>
                    <a:pt x="18912" y="20173"/>
                  </a:lnTo>
                  <a:cubicBezTo>
                    <a:pt x="25216" y="6934"/>
                    <a:pt x="35303" y="0"/>
                    <a:pt x="50432" y="0"/>
                  </a:cubicBezTo>
                </a:path>
              </a:pathLst>
            </a:custGeom>
            <a:solidFill>
              <a:srgbClr val="FFFFFF"/>
            </a:solidFill>
            <a:ln w="6279" cap="flat">
              <a:noFill/>
              <a:prstDash val="solid"/>
              <a:miter/>
            </a:ln>
          </p:spPr>
          <p:txBody>
            <a:bodyPr rtlCol="0" anchor="ctr"/>
            <a:lstStyle/>
            <a:p>
              <a:endParaRPr lang="nb-NO"/>
            </a:p>
          </p:txBody>
        </p:sp>
        <p:sp>
          <p:nvSpPr>
            <p:cNvPr id="7" name="Freeform: Shape 6">
              <a:extLst>
                <a:ext uri="{FF2B5EF4-FFF2-40B4-BE49-F238E27FC236}">
                  <a16:creationId xmlns:a16="http://schemas.microsoft.com/office/drawing/2014/main" id="{A4AE69E1-4907-49B2-9D78-35CD85FEB994}"/>
                </a:ext>
              </a:extLst>
            </p:cNvPr>
            <p:cNvSpPr/>
            <p:nvPr/>
          </p:nvSpPr>
          <p:spPr>
            <a:xfrm>
              <a:off x="1036268" y="6402843"/>
              <a:ext cx="86995" cy="105906"/>
            </a:xfrm>
            <a:custGeom>
              <a:avLst/>
              <a:gdLst>
                <a:gd name="connsiteX0" fmla="*/ 44128 w 86995"/>
                <a:gd name="connsiteY0" fmla="*/ 105906 h 105906"/>
                <a:gd name="connsiteX1" fmla="*/ 0 w 86995"/>
                <a:gd name="connsiteY1" fmla="*/ 71235 h 105906"/>
                <a:gd name="connsiteX2" fmla="*/ 19543 w 86995"/>
                <a:gd name="connsiteY2" fmla="*/ 71235 h 105906"/>
                <a:gd name="connsiteX3" fmla="*/ 26477 w 86995"/>
                <a:gd name="connsiteY3" fmla="*/ 86364 h 105906"/>
                <a:gd name="connsiteX4" fmla="*/ 44759 w 86995"/>
                <a:gd name="connsiteY4" fmla="*/ 90777 h 105906"/>
                <a:gd name="connsiteX5" fmla="*/ 66823 w 86995"/>
                <a:gd name="connsiteY5" fmla="*/ 76908 h 105906"/>
                <a:gd name="connsiteX6" fmla="*/ 62410 w 86995"/>
                <a:gd name="connsiteY6" fmla="*/ 67452 h 105906"/>
                <a:gd name="connsiteX7" fmla="*/ 45389 w 86995"/>
                <a:gd name="connsiteY7" fmla="*/ 61779 h 105906"/>
                <a:gd name="connsiteX8" fmla="*/ 35303 w 86995"/>
                <a:gd name="connsiteY8" fmla="*/ 59888 h 105906"/>
                <a:gd name="connsiteX9" fmla="*/ 3152 w 86995"/>
                <a:gd name="connsiteY9" fmla="*/ 29629 h 105906"/>
                <a:gd name="connsiteX10" fmla="*/ 13239 w 86995"/>
                <a:gd name="connsiteY10" fmla="*/ 8195 h 105906"/>
                <a:gd name="connsiteX11" fmla="*/ 41607 w 86995"/>
                <a:gd name="connsiteY11" fmla="*/ 0 h 105906"/>
                <a:gd name="connsiteX12" fmla="*/ 84474 w 86995"/>
                <a:gd name="connsiteY12" fmla="*/ 34041 h 105906"/>
                <a:gd name="connsiteX13" fmla="*/ 65562 w 86995"/>
                <a:gd name="connsiteY13" fmla="*/ 34041 h 105906"/>
                <a:gd name="connsiteX14" fmla="*/ 59258 w 86995"/>
                <a:gd name="connsiteY14" fmla="*/ 19542 h 105906"/>
                <a:gd name="connsiteX15" fmla="*/ 41607 w 86995"/>
                <a:gd name="connsiteY15" fmla="*/ 15129 h 105906"/>
                <a:gd name="connsiteX16" fmla="*/ 27107 w 86995"/>
                <a:gd name="connsiteY16" fmla="*/ 18912 h 105906"/>
                <a:gd name="connsiteX17" fmla="*/ 22064 w 86995"/>
                <a:gd name="connsiteY17" fmla="*/ 28998 h 105906"/>
                <a:gd name="connsiteX18" fmla="*/ 26477 w 86995"/>
                <a:gd name="connsiteY18" fmla="*/ 37824 h 105906"/>
                <a:gd name="connsiteX19" fmla="*/ 40976 w 86995"/>
                <a:gd name="connsiteY19" fmla="*/ 42867 h 105906"/>
                <a:gd name="connsiteX20" fmla="*/ 51693 w 86995"/>
                <a:gd name="connsiteY20" fmla="*/ 44758 h 105906"/>
                <a:gd name="connsiteX21" fmla="*/ 78801 w 86995"/>
                <a:gd name="connsiteY21" fmla="*/ 55475 h 105906"/>
                <a:gd name="connsiteX22" fmla="*/ 86996 w 86995"/>
                <a:gd name="connsiteY22" fmla="*/ 75017 h 105906"/>
                <a:gd name="connsiteX23" fmla="*/ 75649 w 86995"/>
                <a:gd name="connsiteY23" fmla="*/ 97711 h 105906"/>
                <a:gd name="connsiteX24" fmla="*/ 44128 w 86995"/>
                <a:gd name="connsiteY24" fmla="*/ 105906 h 10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6995" h="105906">
                  <a:moveTo>
                    <a:pt x="44128" y="105906"/>
                  </a:moveTo>
                  <a:cubicBezTo>
                    <a:pt x="15760" y="105906"/>
                    <a:pt x="1261" y="94559"/>
                    <a:pt x="0" y="71235"/>
                  </a:cubicBezTo>
                  <a:lnTo>
                    <a:pt x="19543" y="71235"/>
                  </a:lnTo>
                  <a:cubicBezTo>
                    <a:pt x="20173" y="78169"/>
                    <a:pt x="22695" y="83212"/>
                    <a:pt x="26477" y="86364"/>
                  </a:cubicBezTo>
                  <a:cubicBezTo>
                    <a:pt x="30259" y="89516"/>
                    <a:pt x="36564" y="90777"/>
                    <a:pt x="44759" y="90777"/>
                  </a:cubicBezTo>
                  <a:cubicBezTo>
                    <a:pt x="59889" y="90777"/>
                    <a:pt x="66823" y="86364"/>
                    <a:pt x="66823" y="76908"/>
                  </a:cubicBezTo>
                  <a:cubicBezTo>
                    <a:pt x="66823" y="73126"/>
                    <a:pt x="65562" y="69974"/>
                    <a:pt x="62410" y="67452"/>
                  </a:cubicBezTo>
                  <a:cubicBezTo>
                    <a:pt x="59258" y="64931"/>
                    <a:pt x="53585" y="63670"/>
                    <a:pt x="45389" y="61779"/>
                  </a:cubicBezTo>
                  <a:lnTo>
                    <a:pt x="35303" y="59888"/>
                  </a:lnTo>
                  <a:cubicBezTo>
                    <a:pt x="13869" y="56105"/>
                    <a:pt x="3152" y="46019"/>
                    <a:pt x="3152" y="29629"/>
                  </a:cubicBezTo>
                  <a:cubicBezTo>
                    <a:pt x="3152" y="20803"/>
                    <a:pt x="6304" y="13238"/>
                    <a:pt x="13239" y="8195"/>
                  </a:cubicBezTo>
                  <a:cubicBezTo>
                    <a:pt x="20173" y="3152"/>
                    <a:pt x="29629" y="0"/>
                    <a:pt x="41607" y="0"/>
                  </a:cubicBezTo>
                  <a:cubicBezTo>
                    <a:pt x="69345" y="0"/>
                    <a:pt x="83844" y="11347"/>
                    <a:pt x="84474" y="34041"/>
                  </a:cubicBezTo>
                  <a:lnTo>
                    <a:pt x="65562" y="34041"/>
                  </a:lnTo>
                  <a:cubicBezTo>
                    <a:pt x="64932" y="27107"/>
                    <a:pt x="63041" y="22694"/>
                    <a:pt x="59258" y="19542"/>
                  </a:cubicBezTo>
                  <a:cubicBezTo>
                    <a:pt x="55476" y="16390"/>
                    <a:pt x="49802" y="15129"/>
                    <a:pt x="41607" y="15129"/>
                  </a:cubicBezTo>
                  <a:cubicBezTo>
                    <a:pt x="35303" y="15129"/>
                    <a:pt x="30259" y="16390"/>
                    <a:pt x="27107" y="18912"/>
                  </a:cubicBezTo>
                  <a:cubicBezTo>
                    <a:pt x="23955" y="21433"/>
                    <a:pt x="22064" y="24585"/>
                    <a:pt x="22064" y="28998"/>
                  </a:cubicBezTo>
                  <a:cubicBezTo>
                    <a:pt x="22064" y="32781"/>
                    <a:pt x="23325" y="35933"/>
                    <a:pt x="26477" y="37824"/>
                  </a:cubicBezTo>
                  <a:cubicBezTo>
                    <a:pt x="29629" y="39715"/>
                    <a:pt x="34042" y="41606"/>
                    <a:pt x="40976" y="42867"/>
                  </a:cubicBezTo>
                  <a:lnTo>
                    <a:pt x="51693" y="44758"/>
                  </a:lnTo>
                  <a:cubicBezTo>
                    <a:pt x="64301" y="47280"/>
                    <a:pt x="73127" y="50432"/>
                    <a:pt x="78801" y="55475"/>
                  </a:cubicBezTo>
                  <a:cubicBezTo>
                    <a:pt x="84474" y="59888"/>
                    <a:pt x="86996" y="66822"/>
                    <a:pt x="86996" y="75017"/>
                  </a:cubicBezTo>
                  <a:cubicBezTo>
                    <a:pt x="86996" y="85103"/>
                    <a:pt x="83214" y="92668"/>
                    <a:pt x="75649" y="97711"/>
                  </a:cubicBezTo>
                  <a:cubicBezTo>
                    <a:pt x="68084" y="103385"/>
                    <a:pt x="57997" y="105906"/>
                    <a:pt x="44128" y="105906"/>
                  </a:cubicBezTo>
                </a:path>
              </a:pathLst>
            </a:custGeom>
            <a:solidFill>
              <a:srgbClr val="FFFFFF"/>
            </a:solidFill>
            <a:ln w="6279" cap="flat">
              <a:noFill/>
              <a:prstDash val="solid"/>
              <a:miter/>
            </a:ln>
          </p:spPr>
          <p:txBody>
            <a:bodyPr rtlCol="0" anchor="ctr"/>
            <a:lstStyle/>
            <a:p>
              <a:endParaRPr lang="nb-NO"/>
            </a:p>
          </p:txBody>
        </p:sp>
        <p:sp>
          <p:nvSpPr>
            <p:cNvPr id="8" name="Freeform: Shape 7">
              <a:extLst>
                <a:ext uri="{FF2B5EF4-FFF2-40B4-BE49-F238E27FC236}">
                  <a16:creationId xmlns:a16="http://schemas.microsoft.com/office/drawing/2014/main" id="{63560E75-22B8-4EE9-9C50-78F0FED1301C}"/>
                </a:ext>
              </a:extLst>
            </p:cNvPr>
            <p:cNvSpPr/>
            <p:nvPr/>
          </p:nvSpPr>
          <p:spPr>
            <a:xfrm>
              <a:off x="1137133" y="6366910"/>
              <a:ext cx="91408" cy="139317"/>
            </a:xfrm>
            <a:custGeom>
              <a:avLst/>
              <a:gdLst>
                <a:gd name="connsiteX0" fmla="*/ 91409 w 91408"/>
                <a:gd name="connsiteY0" fmla="*/ 139317 h 139317"/>
                <a:gd name="connsiteX1" fmla="*/ 68714 w 91408"/>
                <a:gd name="connsiteY1" fmla="*/ 139317 h 139317"/>
                <a:gd name="connsiteX2" fmla="*/ 36564 w 91408"/>
                <a:gd name="connsiteY2" fmla="*/ 88255 h 139317"/>
                <a:gd name="connsiteX3" fmla="*/ 19543 w 91408"/>
                <a:gd name="connsiteY3" fmla="*/ 104646 h 139317"/>
                <a:gd name="connsiteX4" fmla="*/ 19543 w 91408"/>
                <a:gd name="connsiteY4" fmla="*/ 139317 h 139317"/>
                <a:gd name="connsiteX5" fmla="*/ 0 w 91408"/>
                <a:gd name="connsiteY5" fmla="*/ 139317 h 139317"/>
                <a:gd name="connsiteX6" fmla="*/ 0 w 91408"/>
                <a:gd name="connsiteY6" fmla="*/ 0 h 139317"/>
                <a:gd name="connsiteX7" fmla="*/ 19543 w 91408"/>
                <a:gd name="connsiteY7" fmla="*/ 0 h 139317"/>
                <a:gd name="connsiteX8" fmla="*/ 19543 w 91408"/>
                <a:gd name="connsiteY8" fmla="*/ 81951 h 139317"/>
                <a:gd name="connsiteX9" fmla="*/ 64301 w 91408"/>
                <a:gd name="connsiteY9" fmla="*/ 38454 h 139317"/>
                <a:gd name="connsiteX10" fmla="*/ 88887 w 91408"/>
                <a:gd name="connsiteY10" fmla="*/ 38454 h 139317"/>
                <a:gd name="connsiteX11" fmla="*/ 50432 w 91408"/>
                <a:gd name="connsiteY11" fmla="*/ 75647 h 13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08" h="139317">
                  <a:moveTo>
                    <a:pt x="91409" y="139317"/>
                  </a:moveTo>
                  <a:lnTo>
                    <a:pt x="68714" y="139317"/>
                  </a:lnTo>
                  <a:lnTo>
                    <a:pt x="36564" y="88255"/>
                  </a:lnTo>
                  <a:lnTo>
                    <a:pt x="19543" y="104646"/>
                  </a:lnTo>
                  <a:lnTo>
                    <a:pt x="19543" y="139317"/>
                  </a:lnTo>
                  <a:lnTo>
                    <a:pt x="0" y="139317"/>
                  </a:lnTo>
                  <a:lnTo>
                    <a:pt x="0" y="0"/>
                  </a:lnTo>
                  <a:lnTo>
                    <a:pt x="19543" y="0"/>
                  </a:lnTo>
                  <a:lnTo>
                    <a:pt x="19543" y="81951"/>
                  </a:lnTo>
                  <a:lnTo>
                    <a:pt x="64301" y="38454"/>
                  </a:lnTo>
                  <a:lnTo>
                    <a:pt x="88887" y="38454"/>
                  </a:lnTo>
                  <a:lnTo>
                    <a:pt x="50432" y="75647"/>
                  </a:lnTo>
                  <a:close/>
                </a:path>
              </a:pathLst>
            </a:custGeom>
            <a:solidFill>
              <a:srgbClr val="FFFFFF"/>
            </a:solidFill>
            <a:ln w="6279" cap="flat">
              <a:noFill/>
              <a:prstDash val="solid"/>
              <a:miter/>
            </a:ln>
          </p:spPr>
          <p:txBody>
            <a:bodyPr rtlCol="0" anchor="ctr"/>
            <a:lstStyle/>
            <a:p>
              <a:endParaRPr lang="nb-NO"/>
            </a:p>
          </p:txBody>
        </p:sp>
        <p:sp>
          <p:nvSpPr>
            <p:cNvPr id="9" name="Freeform: Shape 8">
              <a:extLst>
                <a:ext uri="{FF2B5EF4-FFF2-40B4-BE49-F238E27FC236}">
                  <a16:creationId xmlns:a16="http://schemas.microsoft.com/office/drawing/2014/main" id="{C32BBDD3-B7CC-4CD7-9B3B-A557384B3EC5}"/>
                </a:ext>
              </a:extLst>
            </p:cNvPr>
            <p:cNvSpPr/>
            <p:nvPr/>
          </p:nvSpPr>
          <p:spPr>
            <a:xfrm>
              <a:off x="1279605" y="6366910"/>
              <a:ext cx="85735" cy="139317"/>
            </a:xfrm>
            <a:custGeom>
              <a:avLst/>
              <a:gdLst>
                <a:gd name="connsiteX0" fmla="*/ 50432 w 85735"/>
                <a:gd name="connsiteY0" fmla="*/ 35933 h 139317"/>
                <a:gd name="connsiteX1" fmla="*/ 76279 w 85735"/>
                <a:gd name="connsiteY1" fmla="*/ 45388 h 139317"/>
                <a:gd name="connsiteX2" fmla="*/ 85735 w 85735"/>
                <a:gd name="connsiteY2" fmla="*/ 71865 h 139317"/>
                <a:gd name="connsiteX3" fmla="*/ 85735 w 85735"/>
                <a:gd name="connsiteY3" fmla="*/ 139317 h 139317"/>
                <a:gd name="connsiteX4" fmla="*/ 66193 w 85735"/>
                <a:gd name="connsiteY4" fmla="*/ 139317 h 139317"/>
                <a:gd name="connsiteX5" fmla="*/ 66193 w 85735"/>
                <a:gd name="connsiteY5" fmla="*/ 74387 h 139317"/>
                <a:gd name="connsiteX6" fmla="*/ 44759 w 85735"/>
                <a:gd name="connsiteY6" fmla="*/ 52953 h 139317"/>
                <a:gd name="connsiteX7" fmla="*/ 27107 w 85735"/>
                <a:gd name="connsiteY7" fmla="*/ 60518 h 139317"/>
                <a:gd name="connsiteX8" fmla="*/ 19543 w 85735"/>
                <a:gd name="connsiteY8" fmla="*/ 81951 h 139317"/>
                <a:gd name="connsiteX9" fmla="*/ 19543 w 85735"/>
                <a:gd name="connsiteY9" fmla="*/ 138687 h 139317"/>
                <a:gd name="connsiteX10" fmla="*/ 0 w 85735"/>
                <a:gd name="connsiteY10" fmla="*/ 138687 h 139317"/>
                <a:gd name="connsiteX11" fmla="*/ 0 w 85735"/>
                <a:gd name="connsiteY11" fmla="*/ 0 h 139317"/>
                <a:gd name="connsiteX12" fmla="*/ 19543 w 85735"/>
                <a:gd name="connsiteY12" fmla="*/ 0 h 139317"/>
                <a:gd name="connsiteX13" fmla="*/ 19543 w 85735"/>
                <a:gd name="connsiteY13" fmla="*/ 52323 h 139317"/>
                <a:gd name="connsiteX14" fmla="*/ 50432 w 85735"/>
                <a:gd name="connsiteY14" fmla="*/ 35933 h 13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735" h="139317">
                  <a:moveTo>
                    <a:pt x="50432" y="35933"/>
                  </a:moveTo>
                  <a:cubicBezTo>
                    <a:pt x="61780" y="35933"/>
                    <a:pt x="69975" y="39085"/>
                    <a:pt x="76279" y="45388"/>
                  </a:cubicBezTo>
                  <a:cubicBezTo>
                    <a:pt x="82583" y="51692"/>
                    <a:pt x="85735" y="60518"/>
                    <a:pt x="85735" y="71865"/>
                  </a:cubicBezTo>
                  <a:lnTo>
                    <a:pt x="85735" y="139317"/>
                  </a:lnTo>
                  <a:lnTo>
                    <a:pt x="66193" y="139317"/>
                  </a:lnTo>
                  <a:lnTo>
                    <a:pt x="66193" y="74387"/>
                  </a:lnTo>
                  <a:cubicBezTo>
                    <a:pt x="66193" y="60518"/>
                    <a:pt x="59258" y="52953"/>
                    <a:pt x="44759" y="52953"/>
                  </a:cubicBezTo>
                  <a:cubicBezTo>
                    <a:pt x="38455" y="52953"/>
                    <a:pt x="32151" y="55475"/>
                    <a:pt x="27107" y="60518"/>
                  </a:cubicBezTo>
                  <a:cubicBezTo>
                    <a:pt x="22064" y="65561"/>
                    <a:pt x="19543" y="73126"/>
                    <a:pt x="19543" y="81951"/>
                  </a:cubicBezTo>
                  <a:lnTo>
                    <a:pt x="19543" y="138687"/>
                  </a:lnTo>
                  <a:lnTo>
                    <a:pt x="0" y="138687"/>
                  </a:lnTo>
                  <a:lnTo>
                    <a:pt x="0" y="0"/>
                  </a:lnTo>
                  <a:lnTo>
                    <a:pt x="19543" y="0"/>
                  </a:lnTo>
                  <a:lnTo>
                    <a:pt x="19543" y="52323"/>
                  </a:lnTo>
                  <a:cubicBezTo>
                    <a:pt x="27107" y="41606"/>
                    <a:pt x="37824" y="35933"/>
                    <a:pt x="50432" y="35933"/>
                  </a:cubicBezTo>
                </a:path>
              </a:pathLst>
            </a:custGeom>
            <a:solidFill>
              <a:srgbClr val="FFFFFF"/>
            </a:solidFill>
            <a:ln w="6279" cap="flat">
              <a:noFill/>
              <a:prstDash val="solid"/>
              <a:miter/>
            </a:ln>
          </p:spPr>
          <p:txBody>
            <a:bodyPr rtlCol="0" anchor="ctr"/>
            <a:lstStyle/>
            <a:p>
              <a:endParaRPr lang="nb-NO"/>
            </a:p>
          </p:txBody>
        </p:sp>
        <p:sp>
          <p:nvSpPr>
            <p:cNvPr id="10" name="Freeform: Shape 9">
              <a:extLst>
                <a:ext uri="{FF2B5EF4-FFF2-40B4-BE49-F238E27FC236}">
                  <a16:creationId xmlns:a16="http://schemas.microsoft.com/office/drawing/2014/main" id="{2EA0F207-821D-42A2-B2D0-5B62B6F115FF}"/>
                </a:ext>
              </a:extLst>
            </p:cNvPr>
            <p:cNvSpPr/>
            <p:nvPr/>
          </p:nvSpPr>
          <p:spPr>
            <a:xfrm>
              <a:off x="1382991" y="6402843"/>
              <a:ext cx="95821" cy="105906"/>
            </a:xfrm>
            <a:custGeom>
              <a:avLst/>
              <a:gdLst>
                <a:gd name="connsiteX0" fmla="*/ 47911 w 95821"/>
                <a:gd name="connsiteY0" fmla="*/ 16390 h 105906"/>
                <a:gd name="connsiteX1" fmla="*/ 28999 w 95821"/>
                <a:gd name="connsiteY1" fmla="*/ 23325 h 105906"/>
                <a:gd name="connsiteX2" fmla="*/ 20173 w 95821"/>
                <a:gd name="connsiteY2" fmla="*/ 43497 h 105906"/>
                <a:gd name="connsiteX3" fmla="*/ 76279 w 95821"/>
                <a:gd name="connsiteY3" fmla="*/ 43497 h 105906"/>
                <a:gd name="connsiteX4" fmla="*/ 67453 w 95821"/>
                <a:gd name="connsiteY4" fmla="*/ 23325 h 105906"/>
                <a:gd name="connsiteX5" fmla="*/ 47911 w 95821"/>
                <a:gd name="connsiteY5" fmla="*/ 16390 h 105906"/>
                <a:gd name="connsiteX6" fmla="*/ 95822 w 95821"/>
                <a:gd name="connsiteY6" fmla="*/ 53584 h 105906"/>
                <a:gd name="connsiteX7" fmla="*/ 95822 w 95821"/>
                <a:gd name="connsiteY7" fmla="*/ 59257 h 105906"/>
                <a:gd name="connsiteX8" fmla="*/ 19543 w 95821"/>
                <a:gd name="connsiteY8" fmla="*/ 59257 h 105906"/>
                <a:gd name="connsiteX9" fmla="*/ 28368 w 95821"/>
                <a:gd name="connsiteY9" fmla="*/ 81951 h 105906"/>
                <a:gd name="connsiteX10" fmla="*/ 48541 w 95821"/>
                <a:gd name="connsiteY10" fmla="*/ 89516 h 105906"/>
                <a:gd name="connsiteX11" fmla="*/ 73757 w 95821"/>
                <a:gd name="connsiteY11" fmla="*/ 72496 h 105906"/>
                <a:gd name="connsiteX12" fmla="*/ 93300 w 95821"/>
                <a:gd name="connsiteY12" fmla="*/ 72496 h 105906"/>
                <a:gd name="connsiteX13" fmla="*/ 77540 w 95821"/>
                <a:gd name="connsiteY13" fmla="*/ 97081 h 105906"/>
                <a:gd name="connsiteX14" fmla="*/ 48541 w 95821"/>
                <a:gd name="connsiteY14" fmla="*/ 105906 h 105906"/>
                <a:gd name="connsiteX15" fmla="*/ 13238 w 95821"/>
                <a:gd name="connsiteY15" fmla="*/ 91407 h 105906"/>
                <a:gd name="connsiteX16" fmla="*/ 0 w 95821"/>
                <a:gd name="connsiteY16" fmla="*/ 52953 h 105906"/>
                <a:gd name="connsiteX17" fmla="*/ 13238 w 95821"/>
                <a:gd name="connsiteY17" fmla="*/ 14499 h 105906"/>
                <a:gd name="connsiteX18" fmla="*/ 47911 w 95821"/>
                <a:gd name="connsiteY18" fmla="*/ 0 h 105906"/>
                <a:gd name="connsiteX19" fmla="*/ 83214 w 95821"/>
                <a:gd name="connsiteY19" fmla="*/ 15129 h 105906"/>
                <a:gd name="connsiteX20" fmla="*/ 95822 w 95821"/>
                <a:gd name="connsiteY20" fmla="*/ 53584 h 10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821" h="105906">
                  <a:moveTo>
                    <a:pt x="47911" y="16390"/>
                  </a:moveTo>
                  <a:cubicBezTo>
                    <a:pt x="40346" y="16390"/>
                    <a:pt x="34042" y="18912"/>
                    <a:pt x="28999" y="23325"/>
                  </a:cubicBezTo>
                  <a:cubicBezTo>
                    <a:pt x="23955" y="27737"/>
                    <a:pt x="20803" y="34672"/>
                    <a:pt x="20173" y="43497"/>
                  </a:cubicBezTo>
                  <a:lnTo>
                    <a:pt x="76279" y="43497"/>
                  </a:lnTo>
                  <a:cubicBezTo>
                    <a:pt x="75649" y="35302"/>
                    <a:pt x="72497" y="28368"/>
                    <a:pt x="67453" y="23325"/>
                  </a:cubicBezTo>
                  <a:cubicBezTo>
                    <a:pt x="62410" y="18912"/>
                    <a:pt x="56106" y="16390"/>
                    <a:pt x="47911" y="16390"/>
                  </a:cubicBezTo>
                  <a:moveTo>
                    <a:pt x="95822" y="53584"/>
                  </a:moveTo>
                  <a:lnTo>
                    <a:pt x="95822" y="59257"/>
                  </a:lnTo>
                  <a:lnTo>
                    <a:pt x="19543" y="59257"/>
                  </a:lnTo>
                  <a:cubicBezTo>
                    <a:pt x="20173" y="69344"/>
                    <a:pt x="23325" y="76908"/>
                    <a:pt x="28368" y="81951"/>
                  </a:cubicBezTo>
                  <a:cubicBezTo>
                    <a:pt x="33412" y="86995"/>
                    <a:pt x="40346" y="89516"/>
                    <a:pt x="48541" y="89516"/>
                  </a:cubicBezTo>
                  <a:cubicBezTo>
                    <a:pt x="61149" y="89516"/>
                    <a:pt x="69975" y="83843"/>
                    <a:pt x="73757" y="72496"/>
                  </a:cubicBezTo>
                  <a:lnTo>
                    <a:pt x="93300" y="72496"/>
                  </a:lnTo>
                  <a:cubicBezTo>
                    <a:pt x="90778" y="82582"/>
                    <a:pt x="85105" y="90777"/>
                    <a:pt x="77540" y="97081"/>
                  </a:cubicBezTo>
                  <a:cubicBezTo>
                    <a:pt x="69345" y="102754"/>
                    <a:pt x="59889" y="105906"/>
                    <a:pt x="48541" y="105906"/>
                  </a:cubicBezTo>
                  <a:cubicBezTo>
                    <a:pt x="34042" y="105906"/>
                    <a:pt x="22064" y="100863"/>
                    <a:pt x="13238" y="91407"/>
                  </a:cubicBezTo>
                  <a:cubicBezTo>
                    <a:pt x="4413" y="81951"/>
                    <a:pt x="0" y="68713"/>
                    <a:pt x="0" y="52953"/>
                  </a:cubicBezTo>
                  <a:cubicBezTo>
                    <a:pt x="0" y="37193"/>
                    <a:pt x="4413" y="23955"/>
                    <a:pt x="13238" y="14499"/>
                  </a:cubicBezTo>
                  <a:cubicBezTo>
                    <a:pt x="22064" y="5043"/>
                    <a:pt x="33412" y="0"/>
                    <a:pt x="47911" y="0"/>
                  </a:cubicBezTo>
                  <a:cubicBezTo>
                    <a:pt x="63041" y="0"/>
                    <a:pt x="74388" y="5043"/>
                    <a:pt x="83214" y="15129"/>
                  </a:cubicBezTo>
                  <a:cubicBezTo>
                    <a:pt x="92039" y="25216"/>
                    <a:pt x="95822" y="37824"/>
                    <a:pt x="95822" y="53584"/>
                  </a:cubicBezTo>
                </a:path>
              </a:pathLst>
            </a:custGeom>
            <a:solidFill>
              <a:srgbClr val="FFFFFF"/>
            </a:solidFill>
            <a:ln w="6279" cap="flat">
              <a:noFill/>
              <a:prstDash val="solid"/>
              <a:miter/>
            </a:ln>
          </p:spPr>
          <p:txBody>
            <a:bodyPr rtlCol="0" anchor="ctr"/>
            <a:lstStyle/>
            <a:p>
              <a:endParaRPr lang="nb-NO"/>
            </a:p>
          </p:txBody>
        </p:sp>
        <p:sp>
          <p:nvSpPr>
            <p:cNvPr id="11" name="Freeform: Shape 10">
              <a:extLst>
                <a:ext uri="{FF2B5EF4-FFF2-40B4-BE49-F238E27FC236}">
                  <a16:creationId xmlns:a16="http://schemas.microsoft.com/office/drawing/2014/main" id="{B829E79C-647C-4193-AF7C-1E9AF8D82BF4}"/>
                </a:ext>
              </a:extLst>
            </p:cNvPr>
            <p:cNvSpPr/>
            <p:nvPr/>
          </p:nvSpPr>
          <p:spPr>
            <a:xfrm>
              <a:off x="1496464" y="6366910"/>
              <a:ext cx="19542" cy="139317"/>
            </a:xfrm>
            <a:custGeom>
              <a:avLst/>
              <a:gdLst>
                <a:gd name="connsiteX0" fmla="*/ 0 w 19542"/>
                <a:gd name="connsiteY0" fmla="*/ 0 h 139317"/>
                <a:gd name="connsiteX1" fmla="*/ 19543 w 19542"/>
                <a:gd name="connsiteY1" fmla="*/ 0 h 139317"/>
                <a:gd name="connsiteX2" fmla="*/ 19543 w 19542"/>
                <a:gd name="connsiteY2" fmla="*/ 139317 h 139317"/>
                <a:gd name="connsiteX3" fmla="*/ 0 w 19542"/>
                <a:gd name="connsiteY3" fmla="*/ 139317 h 139317"/>
              </a:gdLst>
              <a:ahLst/>
              <a:cxnLst>
                <a:cxn ang="0">
                  <a:pos x="connsiteX0" y="connsiteY0"/>
                </a:cxn>
                <a:cxn ang="0">
                  <a:pos x="connsiteX1" y="connsiteY1"/>
                </a:cxn>
                <a:cxn ang="0">
                  <a:pos x="connsiteX2" y="connsiteY2"/>
                </a:cxn>
                <a:cxn ang="0">
                  <a:pos x="connsiteX3" y="connsiteY3"/>
                </a:cxn>
              </a:cxnLst>
              <a:rect l="l" t="t" r="r" b="b"/>
              <a:pathLst>
                <a:path w="19542" h="139317">
                  <a:moveTo>
                    <a:pt x="0" y="0"/>
                  </a:moveTo>
                  <a:lnTo>
                    <a:pt x="19543" y="0"/>
                  </a:lnTo>
                  <a:lnTo>
                    <a:pt x="19543" y="139317"/>
                  </a:lnTo>
                  <a:lnTo>
                    <a:pt x="0" y="139317"/>
                  </a:lnTo>
                  <a:close/>
                </a:path>
              </a:pathLst>
            </a:custGeom>
            <a:solidFill>
              <a:srgbClr val="FFFFFF"/>
            </a:solidFill>
            <a:ln w="6279" cap="flat">
              <a:noFill/>
              <a:prstDash val="solid"/>
              <a:miter/>
            </a:ln>
          </p:spPr>
          <p:txBody>
            <a:bodyPr rtlCol="0" anchor="ctr"/>
            <a:lstStyle/>
            <a:p>
              <a:endParaRPr lang="nb-NO"/>
            </a:p>
          </p:txBody>
        </p:sp>
        <p:sp>
          <p:nvSpPr>
            <p:cNvPr id="12" name="Freeform: Shape 11">
              <a:extLst>
                <a:ext uri="{FF2B5EF4-FFF2-40B4-BE49-F238E27FC236}">
                  <a16:creationId xmlns:a16="http://schemas.microsoft.com/office/drawing/2014/main" id="{1FD0BC48-0539-4028-AB7F-F88CE3F8B735}"/>
                </a:ext>
              </a:extLst>
            </p:cNvPr>
            <p:cNvSpPr/>
            <p:nvPr/>
          </p:nvSpPr>
          <p:spPr>
            <a:xfrm>
              <a:off x="1531137" y="6402843"/>
              <a:ext cx="86996" cy="105906"/>
            </a:xfrm>
            <a:custGeom>
              <a:avLst/>
              <a:gdLst>
                <a:gd name="connsiteX0" fmla="*/ 44128 w 86996"/>
                <a:gd name="connsiteY0" fmla="*/ 105906 h 105906"/>
                <a:gd name="connsiteX1" fmla="*/ 0 w 86996"/>
                <a:gd name="connsiteY1" fmla="*/ 71235 h 105906"/>
                <a:gd name="connsiteX2" fmla="*/ 19543 w 86996"/>
                <a:gd name="connsiteY2" fmla="*/ 71235 h 105906"/>
                <a:gd name="connsiteX3" fmla="*/ 26477 w 86996"/>
                <a:gd name="connsiteY3" fmla="*/ 86364 h 105906"/>
                <a:gd name="connsiteX4" fmla="*/ 44759 w 86996"/>
                <a:gd name="connsiteY4" fmla="*/ 90777 h 105906"/>
                <a:gd name="connsiteX5" fmla="*/ 66823 w 86996"/>
                <a:gd name="connsiteY5" fmla="*/ 76908 h 105906"/>
                <a:gd name="connsiteX6" fmla="*/ 62410 w 86996"/>
                <a:gd name="connsiteY6" fmla="*/ 67452 h 105906"/>
                <a:gd name="connsiteX7" fmla="*/ 45389 w 86996"/>
                <a:gd name="connsiteY7" fmla="*/ 61779 h 105906"/>
                <a:gd name="connsiteX8" fmla="*/ 35303 w 86996"/>
                <a:gd name="connsiteY8" fmla="*/ 59888 h 105906"/>
                <a:gd name="connsiteX9" fmla="*/ 3152 w 86996"/>
                <a:gd name="connsiteY9" fmla="*/ 29629 h 105906"/>
                <a:gd name="connsiteX10" fmla="*/ 13238 w 86996"/>
                <a:gd name="connsiteY10" fmla="*/ 8195 h 105906"/>
                <a:gd name="connsiteX11" fmla="*/ 41607 w 86996"/>
                <a:gd name="connsiteY11" fmla="*/ 0 h 105906"/>
                <a:gd name="connsiteX12" fmla="*/ 84474 w 86996"/>
                <a:gd name="connsiteY12" fmla="*/ 34041 h 105906"/>
                <a:gd name="connsiteX13" fmla="*/ 65562 w 86996"/>
                <a:gd name="connsiteY13" fmla="*/ 34041 h 105906"/>
                <a:gd name="connsiteX14" fmla="*/ 59258 w 86996"/>
                <a:gd name="connsiteY14" fmla="*/ 19542 h 105906"/>
                <a:gd name="connsiteX15" fmla="*/ 41607 w 86996"/>
                <a:gd name="connsiteY15" fmla="*/ 15129 h 105906"/>
                <a:gd name="connsiteX16" fmla="*/ 27107 w 86996"/>
                <a:gd name="connsiteY16" fmla="*/ 18912 h 105906"/>
                <a:gd name="connsiteX17" fmla="*/ 22064 w 86996"/>
                <a:gd name="connsiteY17" fmla="*/ 28998 h 105906"/>
                <a:gd name="connsiteX18" fmla="*/ 26477 w 86996"/>
                <a:gd name="connsiteY18" fmla="*/ 37824 h 105906"/>
                <a:gd name="connsiteX19" fmla="*/ 40976 w 86996"/>
                <a:gd name="connsiteY19" fmla="*/ 42867 h 105906"/>
                <a:gd name="connsiteX20" fmla="*/ 51693 w 86996"/>
                <a:gd name="connsiteY20" fmla="*/ 44758 h 105906"/>
                <a:gd name="connsiteX21" fmla="*/ 78801 w 86996"/>
                <a:gd name="connsiteY21" fmla="*/ 55475 h 105906"/>
                <a:gd name="connsiteX22" fmla="*/ 86996 w 86996"/>
                <a:gd name="connsiteY22" fmla="*/ 75017 h 105906"/>
                <a:gd name="connsiteX23" fmla="*/ 75649 w 86996"/>
                <a:gd name="connsiteY23" fmla="*/ 97711 h 105906"/>
                <a:gd name="connsiteX24" fmla="*/ 44128 w 86996"/>
                <a:gd name="connsiteY24" fmla="*/ 105906 h 10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6996" h="105906">
                  <a:moveTo>
                    <a:pt x="44128" y="105906"/>
                  </a:moveTo>
                  <a:cubicBezTo>
                    <a:pt x="15760" y="105906"/>
                    <a:pt x="1261" y="94559"/>
                    <a:pt x="0" y="71235"/>
                  </a:cubicBezTo>
                  <a:lnTo>
                    <a:pt x="19543" y="71235"/>
                  </a:lnTo>
                  <a:cubicBezTo>
                    <a:pt x="20173" y="78169"/>
                    <a:pt x="22695" y="83212"/>
                    <a:pt x="26477" y="86364"/>
                  </a:cubicBezTo>
                  <a:cubicBezTo>
                    <a:pt x="30260" y="89516"/>
                    <a:pt x="36564" y="90777"/>
                    <a:pt x="44759" y="90777"/>
                  </a:cubicBezTo>
                  <a:cubicBezTo>
                    <a:pt x="59889" y="90777"/>
                    <a:pt x="66823" y="86364"/>
                    <a:pt x="66823" y="76908"/>
                  </a:cubicBezTo>
                  <a:cubicBezTo>
                    <a:pt x="66823" y="73126"/>
                    <a:pt x="65562" y="69974"/>
                    <a:pt x="62410" y="67452"/>
                  </a:cubicBezTo>
                  <a:cubicBezTo>
                    <a:pt x="59258" y="64931"/>
                    <a:pt x="53585" y="63670"/>
                    <a:pt x="45389" y="61779"/>
                  </a:cubicBezTo>
                  <a:lnTo>
                    <a:pt x="35303" y="59888"/>
                  </a:lnTo>
                  <a:cubicBezTo>
                    <a:pt x="13869" y="56105"/>
                    <a:pt x="3152" y="46019"/>
                    <a:pt x="3152" y="29629"/>
                  </a:cubicBezTo>
                  <a:cubicBezTo>
                    <a:pt x="3152" y="20803"/>
                    <a:pt x="6304" y="13238"/>
                    <a:pt x="13238" y="8195"/>
                  </a:cubicBezTo>
                  <a:cubicBezTo>
                    <a:pt x="20173" y="3152"/>
                    <a:pt x="29629" y="0"/>
                    <a:pt x="41607" y="0"/>
                  </a:cubicBezTo>
                  <a:cubicBezTo>
                    <a:pt x="69345" y="0"/>
                    <a:pt x="83844" y="11347"/>
                    <a:pt x="84474" y="34041"/>
                  </a:cubicBezTo>
                  <a:lnTo>
                    <a:pt x="65562" y="34041"/>
                  </a:lnTo>
                  <a:cubicBezTo>
                    <a:pt x="64932" y="27107"/>
                    <a:pt x="63041" y="22694"/>
                    <a:pt x="59258" y="19542"/>
                  </a:cubicBezTo>
                  <a:cubicBezTo>
                    <a:pt x="55476" y="17021"/>
                    <a:pt x="49802" y="15129"/>
                    <a:pt x="41607" y="15129"/>
                  </a:cubicBezTo>
                  <a:cubicBezTo>
                    <a:pt x="35303" y="15129"/>
                    <a:pt x="30260" y="16390"/>
                    <a:pt x="27107" y="18912"/>
                  </a:cubicBezTo>
                  <a:cubicBezTo>
                    <a:pt x="23955" y="21433"/>
                    <a:pt x="22064" y="24585"/>
                    <a:pt x="22064" y="28998"/>
                  </a:cubicBezTo>
                  <a:cubicBezTo>
                    <a:pt x="22064" y="32781"/>
                    <a:pt x="23325" y="35933"/>
                    <a:pt x="26477" y="37824"/>
                  </a:cubicBezTo>
                  <a:cubicBezTo>
                    <a:pt x="29629" y="39715"/>
                    <a:pt x="34042" y="41606"/>
                    <a:pt x="40976" y="42867"/>
                  </a:cubicBezTo>
                  <a:lnTo>
                    <a:pt x="51693" y="44758"/>
                  </a:lnTo>
                  <a:cubicBezTo>
                    <a:pt x="64301" y="47280"/>
                    <a:pt x="73127" y="50432"/>
                    <a:pt x="78801" y="55475"/>
                  </a:cubicBezTo>
                  <a:cubicBezTo>
                    <a:pt x="84474" y="59888"/>
                    <a:pt x="86996" y="66822"/>
                    <a:pt x="86996" y="75017"/>
                  </a:cubicBezTo>
                  <a:cubicBezTo>
                    <a:pt x="86996" y="85103"/>
                    <a:pt x="83214" y="92668"/>
                    <a:pt x="75649" y="97711"/>
                  </a:cubicBezTo>
                  <a:cubicBezTo>
                    <a:pt x="68084" y="103385"/>
                    <a:pt x="57367" y="105906"/>
                    <a:pt x="44128" y="105906"/>
                  </a:cubicBezTo>
                </a:path>
              </a:pathLst>
            </a:custGeom>
            <a:solidFill>
              <a:srgbClr val="FFFFFF"/>
            </a:solidFill>
            <a:ln w="6279" cap="flat">
              <a:noFill/>
              <a:prstDash val="solid"/>
              <a:miter/>
            </a:ln>
          </p:spPr>
          <p:txBody>
            <a:bodyPr rtlCol="0" anchor="ctr"/>
            <a:lstStyle/>
            <a:p>
              <a:endParaRPr lang="nb-NO"/>
            </a:p>
          </p:txBody>
        </p:sp>
        <p:sp>
          <p:nvSpPr>
            <p:cNvPr id="13" name="Freeform: Shape 12">
              <a:extLst>
                <a:ext uri="{FF2B5EF4-FFF2-40B4-BE49-F238E27FC236}">
                  <a16:creationId xmlns:a16="http://schemas.microsoft.com/office/drawing/2014/main" id="{9E06AC76-CF28-4BB8-B0AC-B6CA862B7B4A}"/>
                </a:ext>
              </a:extLst>
            </p:cNvPr>
            <p:cNvSpPr/>
            <p:nvPr/>
          </p:nvSpPr>
          <p:spPr>
            <a:xfrm>
              <a:off x="1627589" y="6402843"/>
              <a:ext cx="95821" cy="105906"/>
            </a:xfrm>
            <a:custGeom>
              <a:avLst/>
              <a:gdLst>
                <a:gd name="connsiteX0" fmla="*/ 47911 w 95821"/>
                <a:gd name="connsiteY0" fmla="*/ 16390 h 105906"/>
                <a:gd name="connsiteX1" fmla="*/ 28999 w 95821"/>
                <a:gd name="connsiteY1" fmla="*/ 23325 h 105906"/>
                <a:gd name="connsiteX2" fmla="*/ 20173 w 95821"/>
                <a:gd name="connsiteY2" fmla="*/ 43497 h 105906"/>
                <a:gd name="connsiteX3" fmla="*/ 76279 w 95821"/>
                <a:gd name="connsiteY3" fmla="*/ 43497 h 105906"/>
                <a:gd name="connsiteX4" fmla="*/ 67453 w 95821"/>
                <a:gd name="connsiteY4" fmla="*/ 23325 h 105906"/>
                <a:gd name="connsiteX5" fmla="*/ 47911 w 95821"/>
                <a:gd name="connsiteY5" fmla="*/ 16390 h 105906"/>
                <a:gd name="connsiteX6" fmla="*/ 95822 w 95821"/>
                <a:gd name="connsiteY6" fmla="*/ 53584 h 105906"/>
                <a:gd name="connsiteX7" fmla="*/ 95822 w 95821"/>
                <a:gd name="connsiteY7" fmla="*/ 59257 h 105906"/>
                <a:gd name="connsiteX8" fmla="*/ 19543 w 95821"/>
                <a:gd name="connsiteY8" fmla="*/ 59257 h 105906"/>
                <a:gd name="connsiteX9" fmla="*/ 28368 w 95821"/>
                <a:gd name="connsiteY9" fmla="*/ 81951 h 105906"/>
                <a:gd name="connsiteX10" fmla="*/ 48541 w 95821"/>
                <a:gd name="connsiteY10" fmla="*/ 89516 h 105906"/>
                <a:gd name="connsiteX11" fmla="*/ 73757 w 95821"/>
                <a:gd name="connsiteY11" fmla="*/ 72496 h 105906"/>
                <a:gd name="connsiteX12" fmla="*/ 93300 w 95821"/>
                <a:gd name="connsiteY12" fmla="*/ 72496 h 105906"/>
                <a:gd name="connsiteX13" fmla="*/ 77540 w 95821"/>
                <a:gd name="connsiteY13" fmla="*/ 97081 h 105906"/>
                <a:gd name="connsiteX14" fmla="*/ 48541 w 95821"/>
                <a:gd name="connsiteY14" fmla="*/ 105906 h 105906"/>
                <a:gd name="connsiteX15" fmla="*/ 13238 w 95821"/>
                <a:gd name="connsiteY15" fmla="*/ 91407 h 105906"/>
                <a:gd name="connsiteX16" fmla="*/ 0 w 95821"/>
                <a:gd name="connsiteY16" fmla="*/ 52953 h 105906"/>
                <a:gd name="connsiteX17" fmla="*/ 13238 w 95821"/>
                <a:gd name="connsiteY17" fmla="*/ 14499 h 105906"/>
                <a:gd name="connsiteX18" fmla="*/ 47911 w 95821"/>
                <a:gd name="connsiteY18" fmla="*/ 0 h 105906"/>
                <a:gd name="connsiteX19" fmla="*/ 83214 w 95821"/>
                <a:gd name="connsiteY19" fmla="*/ 15129 h 105906"/>
                <a:gd name="connsiteX20" fmla="*/ 95822 w 95821"/>
                <a:gd name="connsiteY20" fmla="*/ 53584 h 10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821" h="105906">
                  <a:moveTo>
                    <a:pt x="47911" y="16390"/>
                  </a:moveTo>
                  <a:cubicBezTo>
                    <a:pt x="40346" y="16390"/>
                    <a:pt x="34042" y="18912"/>
                    <a:pt x="28999" y="23325"/>
                  </a:cubicBezTo>
                  <a:cubicBezTo>
                    <a:pt x="23955" y="27737"/>
                    <a:pt x="20803" y="34672"/>
                    <a:pt x="20173" y="43497"/>
                  </a:cubicBezTo>
                  <a:lnTo>
                    <a:pt x="76279" y="43497"/>
                  </a:lnTo>
                  <a:cubicBezTo>
                    <a:pt x="75649" y="35302"/>
                    <a:pt x="72497" y="28368"/>
                    <a:pt x="67453" y="23325"/>
                  </a:cubicBezTo>
                  <a:cubicBezTo>
                    <a:pt x="61780" y="18912"/>
                    <a:pt x="55476" y="16390"/>
                    <a:pt x="47911" y="16390"/>
                  </a:cubicBezTo>
                  <a:moveTo>
                    <a:pt x="95822" y="53584"/>
                  </a:moveTo>
                  <a:lnTo>
                    <a:pt x="95822" y="59257"/>
                  </a:lnTo>
                  <a:lnTo>
                    <a:pt x="19543" y="59257"/>
                  </a:lnTo>
                  <a:cubicBezTo>
                    <a:pt x="20173" y="69344"/>
                    <a:pt x="23325" y="76908"/>
                    <a:pt x="28368" y="81951"/>
                  </a:cubicBezTo>
                  <a:cubicBezTo>
                    <a:pt x="33411" y="86995"/>
                    <a:pt x="40346" y="89516"/>
                    <a:pt x="48541" y="89516"/>
                  </a:cubicBezTo>
                  <a:cubicBezTo>
                    <a:pt x="61149" y="89516"/>
                    <a:pt x="69975" y="83843"/>
                    <a:pt x="73757" y="72496"/>
                  </a:cubicBezTo>
                  <a:lnTo>
                    <a:pt x="93300" y="72496"/>
                  </a:lnTo>
                  <a:cubicBezTo>
                    <a:pt x="90778" y="82582"/>
                    <a:pt x="85105" y="90777"/>
                    <a:pt x="77540" y="97081"/>
                  </a:cubicBezTo>
                  <a:cubicBezTo>
                    <a:pt x="69345" y="102754"/>
                    <a:pt x="59889" y="105906"/>
                    <a:pt x="48541" y="105906"/>
                  </a:cubicBezTo>
                  <a:cubicBezTo>
                    <a:pt x="34042" y="105906"/>
                    <a:pt x="22064" y="100863"/>
                    <a:pt x="13238" y="91407"/>
                  </a:cubicBezTo>
                  <a:cubicBezTo>
                    <a:pt x="4413" y="81951"/>
                    <a:pt x="0" y="68713"/>
                    <a:pt x="0" y="52953"/>
                  </a:cubicBezTo>
                  <a:cubicBezTo>
                    <a:pt x="0" y="37193"/>
                    <a:pt x="4413" y="23955"/>
                    <a:pt x="13238" y="14499"/>
                  </a:cubicBezTo>
                  <a:cubicBezTo>
                    <a:pt x="22064" y="5043"/>
                    <a:pt x="33411" y="0"/>
                    <a:pt x="47911" y="0"/>
                  </a:cubicBezTo>
                  <a:cubicBezTo>
                    <a:pt x="63041" y="0"/>
                    <a:pt x="74388" y="5043"/>
                    <a:pt x="83214" y="15129"/>
                  </a:cubicBezTo>
                  <a:cubicBezTo>
                    <a:pt x="91409" y="25216"/>
                    <a:pt x="95822" y="37824"/>
                    <a:pt x="95822" y="53584"/>
                  </a:cubicBezTo>
                </a:path>
              </a:pathLst>
            </a:custGeom>
            <a:solidFill>
              <a:srgbClr val="FFFFFF"/>
            </a:solidFill>
            <a:ln w="6279" cap="flat">
              <a:noFill/>
              <a:prstDash val="solid"/>
              <a:miter/>
            </a:ln>
          </p:spPr>
          <p:txBody>
            <a:bodyPr rtlCol="0" anchor="ctr"/>
            <a:lstStyle/>
            <a:p>
              <a:endParaRPr lang="nb-NO"/>
            </a:p>
          </p:txBody>
        </p:sp>
        <p:sp>
          <p:nvSpPr>
            <p:cNvPr id="14" name="Freeform: Shape 13">
              <a:extLst>
                <a:ext uri="{FF2B5EF4-FFF2-40B4-BE49-F238E27FC236}">
                  <a16:creationId xmlns:a16="http://schemas.microsoft.com/office/drawing/2014/main" id="{B3930EDF-485F-4651-8960-9B73630A6503}"/>
                </a:ext>
              </a:extLst>
            </p:cNvPr>
            <p:cNvSpPr/>
            <p:nvPr/>
          </p:nvSpPr>
          <p:spPr>
            <a:xfrm>
              <a:off x="1741062" y="6402843"/>
              <a:ext cx="85735" cy="103384"/>
            </a:xfrm>
            <a:custGeom>
              <a:avLst/>
              <a:gdLst>
                <a:gd name="connsiteX0" fmla="*/ 50432 w 85735"/>
                <a:gd name="connsiteY0" fmla="*/ 0 h 103384"/>
                <a:gd name="connsiteX1" fmla="*/ 76279 w 85735"/>
                <a:gd name="connsiteY1" fmla="*/ 9456 h 103384"/>
                <a:gd name="connsiteX2" fmla="*/ 85735 w 85735"/>
                <a:gd name="connsiteY2" fmla="*/ 35933 h 103384"/>
                <a:gd name="connsiteX3" fmla="*/ 85735 w 85735"/>
                <a:gd name="connsiteY3" fmla="*/ 103385 h 103384"/>
                <a:gd name="connsiteX4" fmla="*/ 66193 w 85735"/>
                <a:gd name="connsiteY4" fmla="*/ 103385 h 103384"/>
                <a:gd name="connsiteX5" fmla="*/ 66193 w 85735"/>
                <a:gd name="connsiteY5" fmla="*/ 38454 h 103384"/>
                <a:gd name="connsiteX6" fmla="*/ 44759 w 85735"/>
                <a:gd name="connsiteY6" fmla="*/ 17021 h 103384"/>
                <a:gd name="connsiteX7" fmla="*/ 27107 w 85735"/>
                <a:gd name="connsiteY7" fmla="*/ 24585 h 103384"/>
                <a:gd name="connsiteX8" fmla="*/ 19543 w 85735"/>
                <a:gd name="connsiteY8" fmla="*/ 46019 h 103384"/>
                <a:gd name="connsiteX9" fmla="*/ 19543 w 85735"/>
                <a:gd name="connsiteY9" fmla="*/ 102754 h 103384"/>
                <a:gd name="connsiteX10" fmla="*/ 0 w 85735"/>
                <a:gd name="connsiteY10" fmla="*/ 102754 h 103384"/>
                <a:gd name="connsiteX11" fmla="*/ 0 w 85735"/>
                <a:gd name="connsiteY11" fmla="*/ 1891 h 103384"/>
                <a:gd name="connsiteX12" fmla="*/ 18912 w 85735"/>
                <a:gd name="connsiteY12" fmla="*/ 1891 h 103384"/>
                <a:gd name="connsiteX13" fmla="*/ 18912 w 85735"/>
                <a:gd name="connsiteY13" fmla="*/ 17651 h 103384"/>
                <a:gd name="connsiteX14" fmla="*/ 50432 w 85735"/>
                <a:gd name="connsiteY14" fmla="*/ 0 h 103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735" h="103384">
                  <a:moveTo>
                    <a:pt x="50432" y="0"/>
                  </a:moveTo>
                  <a:cubicBezTo>
                    <a:pt x="61780" y="0"/>
                    <a:pt x="69975" y="3152"/>
                    <a:pt x="76279" y="9456"/>
                  </a:cubicBezTo>
                  <a:cubicBezTo>
                    <a:pt x="82583" y="15760"/>
                    <a:pt x="85735" y="24585"/>
                    <a:pt x="85735" y="35933"/>
                  </a:cubicBezTo>
                  <a:lnTo>
                    <a:pt x="85735" y="103385"/>
                  </a:lnTo>
                  <a:lnTo>
                    <a:pt x="66193" y="103385"/>
                  </a:lnTo>
                  <a:lnTo>
                    <a:pt x="66193" y="38454"/>
                  </a:lnTo>
                  <a:cubicBezTo>
                    <a:pt x="66193" y="24585"/>
                    <a:pt x="59258" y="17021"/>
                    <a:pt x="44759" y="17021"/>
                  </a:cubicBezTo>
                  <a:cubicBezTo>
                    <a:pt x="38455" y="17021"/>
                    <a:pt x="32151" y="19542"/>
                    <a:pt x="27107" y="24585"/>
                  </a:cubicBezTo>
                  <a:cubicBezTo>
                    <a:pt x="22064" y="29629"/>
                    <a:pt x="19543" y="37193"/>
                    <a:pt x="19543" y="46019"/>
                  </a:cubicBezTo>
                  <a:lnTo>
                    <a:pt x="19543" y="102754"/>
                  </a:lnTo>
                  <a:lnTo>
                    <a:pt x="0" y="102754"/>
                  </a:lnTo>
                  <a:lnTo>
                    <a:pt x="0" y="1891"/>
                  </a:lnTo>
                  <a:lnTo>
                    <a:pt x="18912" y="1891"/>
                  </a:lnTo>
                  <a:lnTo>
                    <a:pt x="18912" y="17651"/>
                  </a:lnTo>
                  <a:cubicBezTo>
                    <a:pt x="26477" y="5674"/>
                    <a:pt x="37194" y="0"/>
                    <a:pt x="50432" y="0"/>
                  </a:cubicBezTo>
                </a:path>
              </a:pathLst>
            </a:custGeom>
            <a:solidFill>
              <a:srgbClr val="FFFFFF"/>
            </a:solidFill>
            <a:ln w="6279" cap="flat">
              <a:noFill/>
              <a:prstDash val="solid"/>
              <a:miter/>
            </a:ln>
          </p:spPr>
          <p:txBody>
            <a:bodyPr rtlCol="0" anchor="ctr"/>
            <a:lstStyle/>
            <a:p>
              <a:endParaRPr lang="nb-NO"/>
            </a:p>
          </p:txBody>
        </p:sp>
        <p:sp>
          <p:nvSpPr>
            <p:cNvPr id="15" name="Freeform: Shape 14">
              <a:extLst>
                <a:ext uri="{FF2B5EF4-FFF2-40B4-BE49-F238E27FC236}">
                  <a16:creationId xmlns:a16="http://schemas.microsoft.com/office/drawing/2014/main" id="{5E0FC0E6-F788-47ED-B60A-6AC9EEAB68D2}"/>
                </a:ext>
              </a:extLst>
            </p:cNvPr>
            <p:cNvSpPr/>
            <p:nvPr/>
          </p:nvSpPr>
          <p:spPr>
            <a:xfrm>
              <a:off x="1844448" y="6402843"/>
              <a:ext cx="95821" cy="105906"/>
            </a:xfrm>
            <a:custGeom>
              <a:avLst/>
              <a:gdLst>
                <a:gd name="connsiteX0" fmla="*/ 47911 w 95821"/>
                <a:gd name="connsiteY0" fmla="*/ 16390 h 105906"/>
                <a:gd name="connsiteX1" fmla="*/ 28999 w 95821"/>
                <a:gd name="connsiteY1" fmla="*/ 23325 h 105906"/>
                <a:gd name="connsiteX2" fmla="*/ 20173 w 95821"/>
                <a:gd name="connsiteY2" fmla="*/ 43497 h 105906"/>
                <a:gd name="connsiteX3" fmla="*/ 76279 w 95821"/>
                <a:gd name="connsiteY3" fmla="*/ 43497 h 105906"/>
                <a:gd name="connsiteX4" fmla="*/ 67453 w 95821"/>
                <a:gd name="connsiteY4" fmla="*/ 23325 h 105906"/>
                <a:gd name="connsiteX5" fmla="*/ 47911 w 95821"/>
                <a:gd name="connsiteY5" fmla="*/ 16390 h 105906"/>
                <a:gd name="connsiteX6" fmla="*/ 95822 w 95821"/>
                <a:gd name="connsiteY6" fmla="*/ 53584 h 105906"/>
                <a:gd name="connsiteX7" fmla="*/ 95822 w 95821"/>
                <a:gd name="connsiteY7" fmla="*/ 59257 h 105906"/>
                <a:gd name="connsiteX8" fmla="*/ 19543 w 95821"/>
                <a:gd name="connsiteY8" fmla="*/ 59257 h 105906"/>
                <a:gd name="connsiteX9" fmla="*/ 28368 w 95821"/>
                <a:gd name="connsiteY9" fmla="*/ 81951 h 105906"/>
                <a:gd name="connsiteX10" fmla="*/ 48541 w 95821"/>
                <a:gd name="connsiteY10" fmla="*/ 89516 h 105906"/>
                <a:gd name="connsiteX11" fmla="*/ 73757 w 95821"/>
                <a:gd name="connsiteY11" fmla="*/ 72496 h 105906"/>
                <a:gd name="connsiteX12" fmla="*/ 93300 w 95821"/>
                <a:gd name="connsiteY12" fmla="*/ 72496 h 105906"/>
                <a:gd name="connsiteX13" fmla="*/ 77540 w 95821"/>
                <a:gd name="connsiteY13" fmla="*/ 97081 h 105906"/>
                <a:gd name="connsiteX14" fmla="*/ 48541 w 95821"/>
                <a:gd name="connsiteY14" fmla="*/ 105906 h 105906"/>
                <a:gd name="connsiteX15" fmla="*/ 13239 w 95821"/>
                <a:gd name="connsiteY15" fmla="*/ 91407 h 105906"/>
                <a:gd name="connsiteX16" fmla="*/ 0 w 95821"/>
                <a:gd name="connsiteY16" fmla="*/ 52953 h 105906"/>
                <a:gd name="connsiteX17" fmla="*/ 13239 w 95821"/>
                <a:gd name="connsiteY17" fmla="*/ 14499 h 105906"/>
                <a:gd name="connsiteX18" fmla="*/ 47911 w 95821"/>
                <a:gd name="connsiteY18" fmla="*/ 0 h 105906"/>
                <a:gd name="connsiteX19" fmla="*/ 83214 w 95821"/>
                <a:gd name="connsiteY19" fmla="*/ 15129 h 105906"/>
                <a:gd name="connsiteX20" fmla="*/ 95822 w 95821"/>
                <a:gd name="connsiteY20" fmla="*/ 53584 h 10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821" h="105906">
                  <a:moveTo>
                    <a:pt x="47911" y="16390"/>
                  </a:moveTo>
                  <a:cubicBezTo>
                    <a:pt x="40346" y="16390"/>
                    <a:pt x="34042" y="18912"/>
                    <a:pt x="28999" y="23325"/>
                  </a:cubicBezTo>
                  <a:cubicBezTo>
                    <a:pt x="23955" y="27737"/>
                    <a:pt x="20803" y="34672"/>
                    <a:pt x="20173" y="43497"/>
                  </a:cubicBezTo>
                  <a:lnTo>
                    <a:pt x="76279" y="43497"/>
                  </a:lnTo>
                  <a:cubicBezTo>
                    <a:pt x="75649" y="35302"/>
                    <a:pt x="72497" y="28368"/>
                    <a:pt x="67453" y="23325"/>
                  </a:cubicBezTo>
                  <a:cubicBezTo>
                    <a:pt x="61780" y="18912"/>
                    <a:pt x="55476" y="16390"/>
                    <a:pt x="47911" y="16390"/>
                  </a:cubicBezTo>
                  <a:moveTo>
                    <a:pt x="95822" y="53584"/>
                  </a:moveTo>
                  <a:lnTo>
                    <a:pt x="95822" y="59257"/>
                  </a:lnTo>
                  <a:lnTo>
                    <a:pt x="19543" y="59257"/>
                  </a:lnTo>
                  <a:cubicBezTo>
                    <a:pt x="20173" y="69344"/>
                    <a:pt x="23325" y="76908"/>
                    <a:pt x="28368" y="81951"/>
                  </a:cubicBezTo>
                  <a:cubicBezTo>
                    <a:pt x="33412" y="86995"/>
                    <a:pt x="40346" y="89516"/>
                    <a:pt x="48541" y="89516"/>
                  </a:cubicBezTo>
                  <a:cubicBezTo>
                    <a:pt x="61149" y="89516"/>
                    <a:pt x="69975" y="83843"/>
                    <a:pt x="73757" y="72496"/>
                  </a:cubicBezTo>
                  <a:lnTo>
                    <a:pt x="93300" y="72496"/>
                  </a:lnTo>
                  <a:cubicBezTo>
                    <a:pt x="90778" y="82582"/>
                    <a:pt x="85105" y="90777"/>
                    <a:pt x="77540" y="97081"/>
                  </a:cubicBezTo>
                  <a:cubicBezTo>
                    <a:pt x="69345" y="102754"/>
                    <a:pt x="59889" y="105906"/>
                    <a:pt x="48541" y="105906"/>
                  </a:cubicBezTo>
                  <a:cubicBezTo>
                    <a:pt x="34042" y="105906"/>
                    <a:pt x="22064" y="100863"/>
                    <a:pt x="13239" y="91407"/>
                  </a:cubicBezTo>
                  <a:cubicBezTo>
                    <a:pt x="4413" y="81951"/>
                    <a:pt x="0" y="68713"/>
                    <a:pt x="0" y="52953"/>
                  </a:cubicBezTo>
                  <a:cubicBezTo>
                    <a:pt x="0" y="37193"/>
                    <a:pt x="4413" y="23955"/>
                    <a:pt x="13239" y="14499"/>
                  </a:cubicBezTo>
                  <a:cubicBezTo>
                    <a:pt x="22064" y="5043"/>
                    <a:pt x="33412" y="0"/>
                    <a:pt x="47911" y="0"/>
                  </a:cubicBezTo>
                  <a:cubicBezTo>
                    <a:pt x="63041" y="0"/>
                    <a:pt x="74388" y="5043"/>
                    <a:pt x="83214" y="15129"/>
                  </a:cubicBezTo>
                  <a:cubicBezTo>
                    <a:pt x="91409" y="25216"/>
                    <a:pt x="95822" y="37824"/>
                    <a:pt x="95822" y="53584"/>
                  </a:cubicBezTo>
                </a:path>
              </a:pathLst>
            </a:custGeom>
            <a:solidFill>
              <a:srgbClr val="FFFFFF"/>
            </a:solidFill>
            <a:ln w="6279" cap="flat">
              <a:noFill/>
              <a:prstDash val="solid"/>
              <a:miter/>
            </a:ln>
          </p:spPr>
          <p:txBody>
            <a:bodyPr rtlCol="0" anchor="ctr"/>
            <a:lstStyle/>
            <a:p>
              <a:endParaRPr lang="nb-NO"/>
            </a:p>
          </p:txBody>
        </p:sp>
        <p:sp>
          <p:nvSpPr>
            <p:cNvPr id="16" name="Freeform: Shape 15">
              <a:extLst>
                <a:ext uri="{FF2B5EF4-FFF2-40B4-BE49-F238E27FC236}">
                  <a16:creationId xmlns:a16="http://schemas.microsoft.com/office/drawing/2014/main" id="{DA4BB130-4E8D-4731-B978-3B26D2E9CBC6}"/>
                </a:ext>
              </a:extLst>
            </p:cNvPr>
            <p:cNvSpPr/>
            <p:nvPr/>
          </p:nvSpPr>
          <p:spPr>
            <a:xfrm>
              <a:off x="1944053" y="6376366"/>
              <a:ext cx="113472" cy="130491"/>
            </a:xfrm>
            <a:custGeom>
              <a:avLst/>
              <a:gdLst>
                <a:gd name="connsiteX0" fmla="*/ 112212 w 113472"/>
                <a:gd name="connsiteY0" fmla="*/ 44758 h 130491"/>
                <a:gd name="connsiteX1" fmla="*/ 112212 w 113472"/>
                <a:gd name="connsiteY1" fmla="*/ 28998 h 130491"/>
                <a:gd name="connsiteX2" fmla="*/ 92039 w 113472"/>
                <a:gd name="connsiteY2" fmla="*/ 28998 h 130491"/>
                <a:gd name="connsiteX3" fmla="*/ 92039 w 113472"/>
                <a:gd name="connsiteY3" fmla="*/ 0 h 130491"/>
                <a:gd name="connsiteX4" fmla="*/ 72497 w 113472"/>
                <a:gd name="connsiteY4" fmla="*/ 0 h 130491"/>
                <a:gd name="connsiteX5" fmla="*/ 72497 w 113472"/>
                <a:gd name="connsiteY5" fmla="*/ 28998 h 130491"/>
                <a:gd name="connsiteX6" fmla="*/ 56736 w 113472"/>
                <a:gd name="connsiteY6" fmla="*/ 28998 h 130491"/>
                <a:gd name="connsiteX7" fmla="*/ 56106 w 113472"/>
                <a:gd name="connsiteY7" fmla="*/ 28998 h 130491"/>
                <a:gd name="connsiteX8" fmla="*/ 35933 w 113472"/>
                <a:gd name="connsiteY8" fmla="*/ 28998 h 130491"/>
                <a:gd name="connsiteX9" fmla="*/ 35933 w 113472"/>
                <a:gd name="connsiteY9" fmla="*/ 0 h 130491"/>
                <a:gd name="connsiteX10" fmla="*/ 16390 w 113472"/>
                <a:gd name="connsiteY10" fmla="*/ 0 h 130491"/>
                <a:gd name="connsiteX11" fmla="*/ 16390 w 113472"/>
                <a:gd name="connsiteY11" fmla="*/ 28998 h 130491"/>
                <a:gd name="connsiteX12" fmla="*/ 0 w 113472"/>
                <a:gd name="connsiteY12" fmla="*/ 28998 h 130491"/>
                <a:gd name="connsiteX13" fmla="*/ 0 w 113472"/>
                <a:gd name="connsiteY13" fmla="*/ 44758 h 130491"/>
                <a:gd name="connsiteX14" fmla="*/ 16390 w 113472"/>
                <a:gd name="connsiteY14" fmla="*/ 44758 h 130491"/>
                <a:gd name="connsiteX15" fmla="*/ 16390 w 113472"/>
                <a:gd name="connsiteY15" fmla="*/ 107167 h 130491"/>
                <a:gd name="connsiteX16" fmla="*/ 23325 w 113472"/>
                <a:gd name="connsiteY16" fmla="*/ 124818 h 130491"/>
                <a:gd name="connsiteX17" fmla="*/ 44759 w 113472"/>
                <a:gd name="connsiteY17" fmla="*/ 130492 h 130491"/>
                <a:gd name="connsiteX18" fmla="*/ 56736 w 113472"/>
                <a:gd name="connsiteY18" fmla="*/ 129862 h 130491"/>
                <a:gd name="connsiteX19" fmla="*/ 56736 w 113472"/>
                <a:gd name="connsiteY19" fmla="*/ 114102 h 130491"/>
                <a:gd name="connsiteX20" fmla="*/ 47911 w 113472"/>
                <a:gd name="connsiteY20" fmla="*/ 114102 h 130491"/>
                <a:gd name="connsiteX21" fmla="*/ 39085 w 113472"/>
                <a:gd name="connsiteY21" fmla="*/ 112210 h 130491"/>
                <a:gd name="connsiteX22" fmla="*/ 36564 w 113472"/>
                <a:gd name="connsiteY22" fmla="*/ 105906 h 130491"/>
                <a:gd name="connsiteX23" fmla="*/ 36564 w 113472"/>
                <a:gd name="connsiteY23" fmla="*/ 44758 h 130491"/>
                <a:gd name="connsiteX24" fmla="*/ 56736 w 113472"/>
                <a:gd name="connsiteY24" fmla="*/ 44758 h 130491"/>
                <a:gd name="connsiteX25" fmla="*/ 57367 w 113472"/>
                <a:gd name="connsiteY25" fmla="*/ 44758 h 130491"/>
                <a:gd name="connsiteX26" fmla="*/ 73127 w 113472"/>
                <a:gd name="connsiteY26" fmla="*/ 44758 h 130491"/>
                <a:gd name="connsiteX27" fmla="*/ 73127 w 113472"/>
                <a:gd name="connsiteY27" fmla="*/ 107167 h 130491"/>
                <a:gd name="connsiteX28" fmla="*/ 80062 w 113472"/>
                <a:gd name="connsiteY28" fmla="*/ 124818 h 130491"/>
                <a:gd name="connsiteX29" fmla="*/ 101495 w 113472"/>
                <a:gd name="connsiteY29" fmla="*/ 130492 h 130491"/>
                <a:gd name="connsiteX30" fmla="*/ 113473 w 113472"/>
                <a:gd name="connsiteY30" fmla="*/ 129862 h 130491"/>
                <a:gd name="connsiteX31" fmla="*/ 113473 w 113472"/>
                <a:gd name="connsiteY31" fmla="*/ 114102 h 130491"/>
                <a:gd name="connsiteX32" fmla="*/ 104647 w 113472"/>
                <a:gd name="connsiteY32" fmla="*/ 114102 h 130491"/>
                <a:gd name="connsiteX33" fmla="*/ 95822 w 113472"/>
                <a:gd name="connsiteY33" fmla="*/ 112210 h 130491"/>
                <a:gd name="connsiteX34" fmla="*/ 93300 w 113472"/>
                <a:gd name="connsiteY34" fmla="*/ 105906 h 130491"/>
                <a:gd name="connsiteX35" fmla="*/ 93300 w 113472"/>
                <a:gd name="connsiteY35" fmla="*/ 44758 h 130491"/>
                <a:gd name="connsiteX36" fmla="*/ 112212 w 113472"/>
                <a:gd name="connsiteY36" fmla="*/ 44758 h 13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3472" h="130491">
                  <a:moveTo>
                    <a:pt x="112212" y="44758"/>
                  </a:moveTo>
                  <a:lnTo>
                    <a:pt x="112212" y="28998"/>
                  </a:lnTo>
                  <a:lnTo>
                    <a:pt x="92039" y="28998"/>
                  </a:lnTo>
                  <a:lnTo>
                    <a:pt x="92039" y="0"/>
                  </a:lnTo>
                  <a:lnTo>
                    <a:pt x="72497" y="0"/>
                  </a:lnTo>
                  <a:lnTo>
                    <a:pt x="72497" y="28998"/>
                  </a:lnTo>
                  <a:lnTo>
                    <a:pt x="56736" y="28998"/>
                  </a:lnTo>
                  <a:lnTo>
                    <a:pt x="56106" y="28998"/>
                  </a:lnTo>
                  <a:lnTo>
                    <a:pt x="35933" y="28998"/>
                  </a:lnTo>
                  <a:lnTo>
                    <a:pt x="35933" y="0"/>
                  </a:lnTo>
                  <a:lnTo>
                    <a:pt x="16390" y="0"/>
                  </a:lnTo>
                  <a:lnTo>
                    <a:pt x="16390" y="28998"/>
                  </a:lnTo>
                  <a:lnTo>
                    <a:pt x="0" y="28998"/>
                  </a:lnTo>
                  <a:lnTo>
                    <a:pt x="0" y="44758"/>
                  </a:lnTo>
                  <a:lnTo>
                    <a:pt x="16390" y="44758"/>
                  </a:lnTo>
                  <a:lnTo>
                    <a:pt x="16390" y="107167"/>
                  </a:lnTo>
                  <a:cubicBezTo>
                    <a:pt x="16390" y="115362"/>
                    <a:pt x="18912" y="121036"/>
                    <a:pt x="23325" y="124818"/>
                  </a:cubicBezTo>
                  <a:cubicBezTo>
                    <a:pt x="27738" y="128601"/>
                    <a:pt x="34672" y="130492"/>
                    <a:pt x="44759" y="130492"/>
                  </a:cubicBezTo>
                  <a:cubicBezTo>
                    <a:pt x="48541" y="130492"/>
                    <a:pt x="52324" y="130492"/>
                    <a:pt x="56736" y="129862"/>
                  </a:cubicBezTo>
                  <a:lnTo>
                    <a:pt x="56736" y="114102"/>
                  </a:lnTo>
                  <a:lnTo>
                    <a:pt x="47911" y="114102"/>
                  </a:lnTo>
                  <a:cubicBezTo>
                    <a:pt x="43498" y="114102"/>
                    <a:pt x="40976" y="113471"/>
                    <a:pt x="39085" y="112210"/>
                  </a:cubicBezTo>
                  <a:cubicBezTo>
                    <a:pt x="37194" y="110950"/>
                    <a:pt x="36564" y="108428"/>
                    <a:pt x="36564" y="105906"/>
                  </a:cubicBezTo>
                  <a:lnTo>
                    <a:pt x="36564" y="44758"/>
                  </a:lnTo>
                  <a:lnTo>
                    <a:pt x="56736" y="44758"/>
                  </a:lnTo>
                  <a:lnTo>
                    <a:pt x="57367" y="44758"/>
                  </a:lnTo>
                  <a:lnTo>
                    <a:pt x="73127" y="44758"/>
                  </a:lnTo>
                  <a:lnTo>
                    <a:pt x="73127" y="107167"/>
                  </a:lnTo>
                  <a:cubicBezTo>
                    <a:pt x="73127" y="115362"/>
                    <a:pt x="75649" y="121036"/>
                    <a:pt x="80062" y="124818"/>
                  </a:cubicBezTo>
                  <a:cubicBezTo>
                    <a:pt x="84474" y="128601"/>
                    <a:pt x="91409" y="130492"/>
                    <a:pt x="101495" y="130492"/>
                  </a:cubicBezTo>
                  <a:cubicBezTo>
                    <a:pt x="105278" y="130492"/>
                    <a:pt x="109060" y="130492"/>
                    <a:pt x="113473" y="129862"/>
                  </a:cubicBezTo>
                  <a:lnTo>
                    <a:pt x="113473" y="114102"/>
                  </a:lnTo>
                  <a:lnTo>
                    <a:pt x="104647" y="114102"/>
                  </a:lnTo>
                  <a:cubicBezTo>
                    <a:pt x="100235" y="114102"/>
                    <a:pt x="97713" y="113471"/>
                    <a:pt x="95822" y="112210"/>
                  </a:cubicBezTo>
                  <a:cubicBezTo>
                    <a:pt x="93931" y="110950"/>
                    <a:pt x="93300" y="108428"/>
                    <a:pt x="93300" y="105906"/>
                  </a:cubicBezTo>
                  <a:lnTo>
                    <a:pt x="93300" y="44758"/>
                  </a:lnTo>
                  <a:lnTo>
                    <a:pt x="112212" y="44758"/>
                  </a:lnTo>
                  <a:close/>
                </a:path>
              </a:pathLst>
            </a:custGeom>
            <a:solidFill>
              <a:srgbClr val="FFFFFF"/>
            </a:solidFill>
            <a:ln w="6279" cap="flat">
              <a:noFill/>
              <a:prstDash val="solid"/>
              <a:miter/>
            </a:ln>
          </p:spPr>
          <p:txBody>
            <a:bodyPr rtlCol="0" anchor="ctr"/>
            <a:lstStyle/>
            <a:p>
              <a:endParaRPr lang="nb-NO"/>
            </a:p>
          </p:txBody>
        </p:sp>
      </p:grpSp>
    </p:spTree>
    <p:extLst>
      <p:ext uri="{BB962C8B-B14F-4D97-AF65-F5344CB8AC3E}">
        <p14:creationId xmlns:p14="http://schemas.microsoft.com/office/powerpoint/2010/main" val="1461836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B8F7A5D8-E6E3-469D-AFA8-C4EB8962C76E}"/>
              </a:ext>
            </a:extLst>
          </p:cNvPr>
          <p:cNvSpPr>
            <a:spLocks noGrp="1"/>
          </p:cNvSpPr>
          <p:nvPr>
            <p:ph type="body" sz="quarter" idx="10"/>
          </p:nvPr>
        </p:nvSpPr>
        <p:spPr>
          <a:xfrm>
            <a:off x="334963" y="1343637"/>
            <a:ext cx="11522075" cy="5180987"/>
          </a:xfrm>
          <a:prstGeom prst="rect">
            <a:avLst/>
          </a:prstGeom>
        </p:spPr>
        <p:txBody>
          <a:bodyPr lIns="0" tIns="0" rIns="0" bIns="0">
            <a:normAutofit/>
          </a:bodyPr>
          <a:lstStyle>
            <a:lvl1pPr marL="1248025" indent="-1248025" algn="l">
              <a:lnSpc>
                <a:spcPct val="120000"/>
              </a:lnSpc>
              <a:spcBef>
                <a:spcPts val="500"/>
              </a:spcBef>
              <a:spcAft>
                <a:spcPts val="0"/>
              </a:spcAft>
              <a:buClrTx/>
              <a:buFont typeface="+mj-lt"/>
              <a:buAutoNum type="arabicPeriod"/>
              <a:defRPr sz="5001" b="0" i="0" u="none" cap="none">
                <a:solidFill>
                  <a:schemeClr val="tx2"/>
                </a:solidFill>
                <a:latin typeface="+mn-lt"/>
              </a:defRPr>
            </a:lvl1pPr>
            <a:lvl2pPr marL="1704975" indent="-447675" algn="l">
              <a:lnSpc>
                <a:spcPct val="120000"/>
              </a:lnSpc>
              <a:spcBef>
                <a:spcPts val="0"/>
              </a:spcBef>
              <a:spcAft>
                <a:spcPts val="0"/>
              </a:spcAft>
              <a:buClrTx/>
              <a:buFont typeface="Arial" panose="020B0604020202020204" pitchFamily="34" charset="0"/>
              <a:buChar char="•"/>
              <a:defRPr sz="4500" b="0" i="0" u="none" cap="none">
                <a:solidFill>
                  <a:schemeClr val="tx2"/>
                </a:solidFill>
                <a:latin typeface="+mn-lt"/>
              </a:defRPr>
            </a:lvl2pPr>
            <a:lvl3pPr marL="2152650" indent="-447675" algn="l">
              <a:lnSpc>
                <a:spcPct val="120000"/>
              </a:lnSpc>
              <a:spcBef>
                <a:spcPts val="500"/>
              </a:spcBef>
              <a:spcAft>
                <a:spcPts val="0"/>
              </a:spcAft>
              <a:buClrTx/>
              <a:buFont typeface="Arial" panose="020B0604020202020204" pitchFamily="34" charset="0"/>
              <a:buChar char="•"/>
              <a:defRPr sz="4000" b="0" i="0" u="none" cap="none">
                <a:solidFill>
                  <a:schemeClr val="tx2"/>
                </a:solidFill>
                <a:latin typeface="+mn-lt"/>
              </a:defRPr>
            </a:lvl3pPr>
            <a:lvl4pPr marL="2514600" indent="-361950" algn="l">
              <a:lnSpc>
                <a:spcPct val="120000"/>
              </a:lnSpc>
              <a:spcBef>
                <a:spcPts val="500"/>
              </a:spcBef>
              <a:spcAft>
                <a:spcPts val="0"/>
              </a:spcAft>
              <a:buClrTx/>
              <a:buFont typeface="Arial" panose="020B0604020202020204" pitchFamily="34" charset="0"/>
              <a:buChar char="•"/>
              <a:defRPr sz="3500" b="0" i="0" u="none" cap="none">
                <a:solidFill>
                  <a:schemeClr val="tx2"/>
                </a:solidFill>
                <a:latin typeface="+mn-lt"/>
              </a:defRPr>
            </a:lvl4pPr>
            <a:lvl5pPr marL="2867025" indent="-352425" algn="l">
              <a:lnSpc>
                <a:spcPct val="120000"/>
              </a:lnSpc>
              <a:spcBef>
                <a:spcPts val="500"/>
              </a:spcBef>
              <a:spcAft>
                <a:spcPts val="0"/>
              </a:spcAft>
              <a:buClrTx/>
              <a:buFont typeface="Arial" panose="020B0604020202020204" pitchFamily="34" charset="0"/>
              <a:buChar char="•"/>
              <a:defRPr sz="3000" b="0" i="0" u="none" cap="none">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tel 6">
            <a:extLst>
              <a:ext uri="{FF2B5EF4-FFF2-40B4-BE49-F238E27FC236}">
                <a16:creationId xmlns:a16="http://schemas.microsoft.com/office/drawing/2014/main" id="{A5482343-1915-D341-B307-5AA1F67E3C2A}"/>
              </a:ext>
            </a:extLst>
          </p:cNvPr>
          <p:cNvSpPr>
            <a:spLocks noGrp="1"/>
          </p:cNvSpPr>
          <p:nvPr>
            <p:ph type="title" hasCustomPrompt="1"/>
          </p:nvPr>
        </p:nvSpPr>
        <p:spPr>
          <a:xfrm>
            <a:off x="334963" y="333377"/>
            <a:ext cx="11522075" cy="226800"/>
          </a:xfrm>
        </p:spPr>
        <p:txBody>
          <a:bodyPr lIns="36000" rIns="36000" anchor="t" anchorCtr="0"/>
          <a:lstStyle>
            <a:lvl1pPr>
              <a:lnSpc>
                <a:spcPct val="100000"/>
              </a:lnSpc>
              <a:defRPr sz="1500">
                <a:solidFill>
                  <a:schemeClr val="accent1"/>
                </a:solidFill>
                <a:latin typeface="+mj-lt"/>
              </a:defRPr>
            </a:lvl1pPr>
          </a:lstStyle>
          <a:p>
            <a:r>
              <a:rPr lang="nb-NO"/>
              <a:t>Klikk for å redigere tittelstil</a:t>
            </a:r>
          </a:p>
        </p:txBody>
      </p:sp>
    </p:spTree>
    <p:extLst>
      <p:ext uri="{BB962C8B-B14F-4D97-AF65-F5344CB8AC3E}">
        <p14:creationId xmlns:p14="http://schemas.microsoft.com/office/powerpoint/2010/main" val="65543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maside">
    <p:bg>
      <p:bgPr>
        <a:solidFill>
          <a:schemeClr val="l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49222" y="1915515"/>
            <a:ext cx="7365587" cy="3596236"/>
          </a:xfrm>
        </p:spPr>
        <p:txBody>
          <a:bodyPr anchor="t"/>
          <a:lstStyle>
            <a:lvl1pPr>
              <a:defRPr>
                <a:solidFill>
                  <a:schemeClr val="tx2"/>
                </a:solidFill>
              </a:defRPr>
            </a:lvl1pPr>
          </a:lstStyle>
          <a:p>
            <a:endParaRPr lang="en-US"/>
          </a:p>
        </p:txBody>
      </p:sp>
      <p:sp>
        <p:nvSpPr>
          <p:cNvPr id="12" name="Subtitle 2">
            <a:extLst>
              <a:ext uri="{FF2B5EF4-FFF2-40B4-BE49-F238E27FC236}">
                <a16:creationId xmlns:a16="http://schemas.microsoft.com/office/drawing/2014/main" id="{4B0B2E75-84F0-4E85-9B77-833285E056D5}"/>
              </a:ext>
            </a:extLst>
          </p:cNvPr>
          <p:cNvSpPr>
            <a:spLocks noGrp="1"/>
          </p:cNvSpPr>
          <p:nvPr>
            <p:ph type="subTitle" idx="13"/>
          </p:nvPr>
        </p:nvSpPr>
        <p:spPr>
          <a:xfrm>
            <a:off x="2249222" y="1223456"/>
            <a:ext cx="7365587" cy="456265"/>
          </a:xfrm>
        </p:spPr>
        <p:txBody>
          <a:bodyPr lIns="36000" rIns="36000" anchor="b"/>
          <a:lstStyle>
            <a:lvl1pPr marL="0" indent="0" algn="l">
              <a:buNone/>
              <a:defRPr sz="1700">
                <a:solidFill>
                  <a:schemeClr val="accent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
        <p:nvSpPr>
          <p:cNvPr id="4" name="Freeform: Shape 3">
            <a:extLst>
              <a:ext uri="{FF2B5EF4-FFF2-40B4-BE49-F238E27FC236}">
                <a16:creationId xmlns:a16="http://schemas.microsoft.com/office/drawing/2014/main" id="{8E980BDB-285D-4E70-A0C6-4C1D4AF5BE10}"/>
              </a:ext>
            </a:extLst>
          </p:cNvPr>
          <p:cNvSpPr/>
          <p:nvPr userDrawn="1"/>
        </p:nvSpPr>
        <p:spPr>
          <a:xfrm rot="5400000">
            <a:off x="10759167" y="5437591"/>
            <a:ext cx="1449387" cy="724683"/>
          </a:xfrm>
          <a:custGeom>
            <a:avLst/>
            <a:gdLst>
              <a:gd name="connsiteX0" fmla="*/ 761388 w 3045552"/>
              <a:gd name="connsiteY0" fmla="*/ 0 h 1522754"/>
              <a:gd name="connsiteX1" fmla="*/ 2284165 w 3045552"/>
              <a:gd name="connsiteY1" fmla="*/ 0 h 1522754"/>
              <a:gd name="connsiteX2" fmla="*/ 3045553 w 3045552"/>
              <a:gd name="connsiteY2" fmla="*/ 761377 h 1522754"/>
              <a:gd name="connsiteX3" fmla="*/ 2284165 w 3045552"/>
              <a:gd name="connsiteY3" fmla="*/ 1522754 h 1522754"/>
              <a:gd name="connsiteX4" fmla="*/ 761388 w 3045552"/>
              <a:gd name="connsiteY4" fmla="*/ 1522754 h 1522754"/>
              <a:gd name="connsiteX5" fmla="*/ 0 w 3045552"/>
              <a:gd name="connsiteY5" fmla="*/ 761377 h 1522754"/>
              <a:gd name="connsiteX6" fmla="*/ 761388 w 3045552"/>
              <a:gd name="connsiteY6"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5552" h="1522754">
                <a:moveTo>
                  <a:pt x="761388" y="0"/>
                </a:moveTo>
                <a:lnTo>
                  <a:pt x="2284165" y="0"/>
                </a:lnTo>
                <a:cubicBezTo>
                  <a:pt x="2704831" y="0"/>
                  <a:pt x="3045553" y="340716"/>
                  <a:pt x="3045553" y="761377"/>
                </a:cubicBezTo>
                <a:cubicBezTo>
                  <a:pt x="3045553" y="1182038"/>
                  <a:pt x="2704831" y="1522754"/>
                  <a:pt x="2284165" y="1522754"/>
                </a:cubicBezTo>
                <a:lnTo>
                  <a:pt x="761388" y="1522754"/>
                </a:lnTo>
                <a:cubicBezTo>
                  <a:pt x="340721" y="1522754"/>
                  <a:pt x="0" y="1182038"/>
                  <a:pt x="0" y="761377"/>
                </a:cubicBezTo>
                <a:cubicBezTo>
                  <a:pt x="0" y="340716"/>
                  <a:pt x="340721" y="0"/>
                  <a:pt x="761388" y="0"/>
                </a:cubicBezTo>
              </a:path>
            </a:pathLst>
          </a:custGeom>
          <a:solidFill>
            <a:srgbClr val="03A680"/>
          </a:solidFill>
          <a:ln w="6340" cap="flat">
            <a:noFill/>
            <a:prstDash val="solid"/>
            <a:miter/>
          </a:ln>
        </p:spPr>
        <p:txBody>
          <a:bodyPr rtlCol="0" anchor="ctr"/>
          <a:lstStyle/>
          <a:p>
            <a:endParaRPr lang="nb-NO"/>
          </a:p>
        </p:txBody>
      </p:sp>
      <p:sp>
        <p:nvSpPr>
          <p:cNvPr id="5" name="Freeform: Shape 4">
            <a:extLst>
              <a:ext uri="{FF2B5EF4-FFF2-40B4-BE49-F238E27FC236}">
                <a16:creationId xmlns:a16="http://schemas.microsoft.com/office/drawing/2014/main" id="{4C04E5D9-B8BE-4EB4-B26B-FE390532EBF0}"/>
              </a:ext>
            </a:extLst>
          </p:cNvPr>
          <p:cNvSpPr/>
          <p:nvPr userDrawn="1"/>
        </p:nvSpPr>
        <p:spPr>
          <a:xfrm rot="5400000">
            <a:off x="10396831" y="3625858"/>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6" name="Freeform: Shape 5">
            <a:extLst>
              <a:ext uri="{FF2B5EF4-FFF2-40B4-BE49-F238E27FC236}">
                <a16:creationId xmlns:a16="http://schemas.microsoft.com/office/drawing/2014/main" id="{FEC0CBE6-2887-4F01-8CA1-9973129602FC}"/>
              </a:ext>
            </a:extLst>
          </p:cNvPr>
          <p:cNvSpPr/>
          <p:nvPr userDrawn="1"/>
        </p:nvSpPr>
        <p:spPr>
          <a:xfrm rot="5400000">
            <a:off x="10396831" y="5075244"/>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sp>
        <p:nvSpPr>
          <p:cNvPr id="7" name="Freeform: Shape 6">
            <a:extLst>
              <a:ext uri="{FF2B5EF4-FFF2-40B4-BE49-F238E27FC236}">
                <a16:creationId xmlns:a16="http://schemas.microsoft.com/office/drawing/2014/main" id="{28B856E4-148F-4869-8577-15B85BD8FE4D}"/>
              </a:ext>
            </a:extLst>
          </p:cNvPr>
          <p:cNvSpPr/>
          <p:nvPr userDrawn="1"/>
        </p:nvSpPr>
        <p:spPr>
          <a:xfrm rot="5400000">
            <a:off x="9672149" y="5075245"/>
            <a:ext cx="724693" cy="724683"/>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8" name="Freeform: Shape 7">
            <a:extLst>
              <a:ext uri="{FF2B5EF4-FFF2-40B4-BE49-F238E27FC236}">
                <a16:creationId xmlns:a16="http://schemas.microsoft.com/office/drawing/2014/main" id="{D6803746-AB8A-41EC-9A1A-68EAA04DA473}"/>
              </a:ext>
            </a:extLst>
          </p:cNvPr>
          <p:cNvSpPr/>
          <p:nvPr userDrawn="1"/>
        </p:nvSpPr>
        <p:spPr>
          <a:xfrm rot="5400000">
            <a:off x="11121514" y="3625858"/>
            <a:ext cx="724693" cy="724683"/>
          </a:xfrm>
          <a:custGeom>
            <a:avLst/>
            <a:gdLst>
              <a:gd name="connsiteX0" fmla="*/ 0 w 1522776"/>
              <a:gd name="connsiteY0" fmla="*/ 0 h 1522754"/>
              <a:gd name="connsiteX1" fmla="*/ 1522776 w 1522776"/>
              <a:gd name="connsiteY1" fmla="*/ 0 h 1522754"/>
              <a:gd name="connsiteX2" fmla="*/ 1522776 w 1522776"/>
              <a:gd name="connsiteY2" fmla="*/ 1522754 h 1522754"/>
              <a:gd name="connsiteX3" fmla="*/ 0 w 1522776"/>
              <a:gd name="connsiteY3" fmla="*/ 1522754 h 1522754"/>
            </a:gdLst>
            <a:ahLst/>
            <a:cxnLst>
              <a:cxn ang="0">
                <a:pos x="connsiteX0" y="connsiteY0"/>
              </a:cxn>
              <a:cxn ang="0">
                <a:pos x="connsiteX1" y="connsiteY1"/>
              </a:cxn>
              <a:cxn ang="0">
                <a:pos x="connsiteX2" y="connsiteY2"/>
              </a:cxn>
              <a:cxn ang="0">
                <a:pos x="connsiteX3" y="connsiteY3"/>
              </a:cxn>
            </a:cxnLst>
            <a:rect l="l" t="t" r="r" b="b"/>
            <a:pathLst>
              <a:path w="1522776" h="1522754">
                <a:moveTo>
                  <a:pt x="0" y="0"/>
                </a:moveTo>
                <a:lnTo>
                  <a:pt x="1522776" y="0"/>
                </a:lnTo>
                <a:lnTo>
                  <a:pt x="1522776" y="1522754"/>
                </a:lnTo>
                <a:lnTo>
                  <a:pt x="0" y="1522754"/>
                </a:lnTo>
                <a:close/>
              </a:path>
            </a:pathLst>
          </a:custGeom>
          <a:solidFill>
            <a:srgbClr val="388070"/>
          </a:solidFill>
          <a:ln w="6340" cap="flat">
            <a:noFill/>
            <a:prstDash val="solid"/>
            <a:miter/>
          </a:ln>
        </p:spPr>
        <p:txBody>
          <a:bodyPr rtlCol="0" anchor="ctr"/>
          <a:lstStyle/>
          <a:p>
            <a:endParaRPr lang="nb-NO"/>
          </a:p>
        </p:txBody>
      </p:sp>
      <p:sp>
        <p:nvSpPr>
          <p:cNvPr id="9" name="Freeform: Shape 8">
            <a:extLst>
              <a:ext uri="{FF2B5EF4-FFF2-40B4-BE49-F238E27FC236}">
                <a16:creationId xmlns:a16="http://schemas.microsoft.com/office/drawing/2014/main" id="{12F42EEA-B370-4097-AC96-AA8A1364DC57}"/>
              </a:ext>
            </a:extLst>
          </p:cNvPr>
          <p:cNvSpPr/>
          <p:nvPr userDrawn="1"/>
        </p:nvSpPr>
        <p:spPr>
          <a:xfrm rot="5400000">
            <a:off x="9672149" y="5799938"/>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10" name="Freeform: Shape 9">
            <a:extLst>
              <a:ext uri="{FF2B5EF4-FFF2-40B4-BE49-F238E27FC236}">
                <a16:creationId xmlns:a16="http://schemas.microsoft.com/office/drawing/2014/main" id="{5B1AD557-3E86-4BC2-B633-C074E185AF3F}"/>
              </a:ext>
            </a:extLst>
          </p:cNvPr>
          <p:cNvSpPr/>
          <p:nvPr userDrawn="1"/>
        </p:nvSpPr>
        <p:spPr>
          <a:xfrm rot="5400000">
            <a:off x="8947466" y="5075245"/>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11" name="Freeform: Shape 10">
            <a:extLst>
              <a:ext uri="{FF2B5EF4-FFF2-40B4-BE49-F238E27FC236}">
                <a16:creationId xmlns:a16="http://schemas.microsoft.com/office/drawing/2014/main" id="{EF452FCC-6222-4C0C-B42B-440984EDBC5E}"/>
              </a:ext>
            </a:extLst>
          </p:cNvPr>
          <p:cNvSpPr/>
          <p:nvPr userDrawn="1"/>
        </p:nvSpPr>
        <p:spPr>
          <a:xfrm rot="5400000">
            <a:off x="10759173" y="3988210"/>
            <a:ext cx="724693" cy="1449366"/>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7AF0B2"/>
          </a:solidFill>
          <a:ln w="6340" cap="flat">
            <a:noFill/>
            <a:prstDash val="solid"/>
            <a:miter/>
          </a:ln>
        </p:spPr>
        <p:txBody>
          <a:bodyPr rtlCol="0" anchor="ctr"/>
          <a:lstStyle/>
          <a:p>
            <a:endParaRPr lang="nb-NO"/>
          </a:p>
        </p:txBody>
      </p:sp>
      <p:sp>
        <p:nvSpPr>
          <p:cNvPr id="13" name="Freeform: Shape 12">
            <a:extLst>
              <a:ext uri="{FF2B5EF4-FFF2-40B4-BE49-F238E27FC236}">
                <a16:creationId xmlns:a16="http://schemas.microsoft.com/office/drawing/2014/main" id="{658BD899-3085-4CE3-BC4E-2F03978AA82A}"/>
              </a:ext>
            </a:extLst>
          </p:cNvPr>
          <p:cNvSpPr/>
          <p:nvPr userDrawn="1"/>
        </p:nvSpPr>
        <p:spPr>
          <a:xfrm rot="5400000">
            <a:off x="10034490" y="3988210"/>
            <a:ext cx="724693" cy="1449366"/>
          </a:xfrm>
          <a:custGeom>
            <a:avLst/>
            <a:gdLst>
              <a:gd name="connsiteX0" fmla="*/ 761388 w 1522776"/>
              <a:gd name="connsiteY0" fmla="*/ 0 h 3045508"/>
              <a:gd name="connsiteX1" fmla="*/ 761388 w 1522776"/>
              <a:gd name="connsiteY1" fmla="*/ 0 h 3045508"/>
              <a:gd name="connsiteX2" fmla="*/ 0 w 1522776"/>
              <a:gd name="connsiteY2" fmla="*/ 761377 h 3045508"/>
              <a:gd name="connsiteX3" fmla="*/ 0 w 1522776"/>
              <a:gd name="connsiteY3" fmla="*/ 2284132 h 3045508"/>
              <a:gd name="connsiteX4" fmla="*/ 761388 w 1522776"/>
              <a:gd name="connsiteY4" fmla="*/ 3045509 h 3045508"/>
              <a:gd name="connsiteX5" fmla="*/ 1522776 w 1522776"/>
              <a:gd name="connsiteY5" fmla="*/ 2284132 h 3045508"/>
              <a:gd name="connsiteX6" fmla="*/ 1522776 w 1522776"/>
              <a:gd name="connsiteY6" fmla="*/ 761377 h 3045508"/>
              <a:gd name="connsiteX7" fmla="*/ 761388 w 1522776"/>
              <a:gd name="connsiteY7" fmla="*/ 0 h 304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2776" h="3045508">
                <a:moveTo>
                  <a:pt x="761388" y="0"/>
                </a:moveTo>
                <a:lnTo>
                  <a:pt x="761388" y="0"/>
                </a:lnTo>
                <a:cubicBezTo>
                  <a:pt x="340721" y="0"/>
                  <a:pt x="0" y="340716"/>
                  <a:pt x="0" y="761377"/>
                </a:cubicBezTo>
                <a:lnTo>
                  <a:pt x="0" y="2284132"/>
                </a:lnTo>
                <a:cubicBezTo>
                  <a:pt x="0" y="2704792"/>
                  <a:pt x="340721" y="3045509"/>
                  <a:pt x="761388" y="3045509"/>
                </a:cubicBezTo>
                <a:cubicBezTo>
                  <a:pt x="1182055" y="3045509"/>
                  <a:pt x="1522776" y="2704792"/>
                  <a:pt x="1522776" y="2284132"/>
                </a:cubicBezTo>
                <a:lnTo>
                  <a:pt x="1522776" y="761377"/>
                </a:lnTo>
                <a:cubicBezTo>
                  <a:pt x="1522776" y="340716"/>
                  <a:pt x="1182055" y="0"/>
                  <a:pt x="761388" y="0"/>
                </a:cubicBezTo>
              </a:path>
            </a:pathLst>
          </a:custGeom>
          <a:solidFill>
            <a:srgbClr val="03A680"/>
          </a:solidFill>
          <a:ln w="6340" cap="flat">
            <a:noFill/>
            <a:prstDash val="solid"/>
            <a:miter/>
          </a:ln>
        </p:spPr>
        <p:txBody>
          <a:bodyPr rtlCol="0" anchor="ctr"/>
          <a:lstStyle/>
          <a:p>
            <a:endParaRPr lang="nb-NO"/>
          </a:p>
        </p:txBody>
      </p:sp>
      <p:sp>
        <p:nvSpPr>
          <p:cNvPr id="14" name="Freeform: Shape 13">
            <a:extLst>
              <a:ext uri="{FF2B5EF4-FFF2-40B4-BE49-F238E27FC236}">
                <a16:creationId xmlns:a16="http://schemas.microsoft.com/office/drawing/2014/main" id="{353A4DED-F339-41A8-852D-7F8392F9A348}"/>
              </a:ext>
            </a:extLst>
          </p:cNvPr>
          <p:cNvSpPr/>
          <p:nvPr userDrawn="1"/>
        </p:nvSpPr>
        <p:spPr>
          <a:xfrm rot="5400000">
            <a:off x="10396831" y="4350552"/>
            <a:ext cx="724693" cy="724683"/>
          </a:xfrm>
          <a:custGeom>
            <a:avLst/>
            <a:gdLst>
              <a:gd name="connsiteX0" fmla="*/ 761388 w 1522776"/>
              <a:gd name="connsiteY0" fmla="*/ 0 h 1522754"/>
              <a:gd name="connsiteX1" fmla="*/ 761388 w 1522776"/>
              <a:gd name="connsiteY1" fmla="*/ 0 h 1522754"/>
              <a:gd name="connsiteX2" fmla="*/ 0 w 1522776"/>
              <a:gd name="connsiteY2" fmla="*/ 761377 h 1522754"/>
              <a:gd name="connsiteX3" fmla="*/ 761388 w 1522776"/>
              <a:gd name="connsiteY3" fmla="*/ 1522754 h 1522754"/>
              <a:gd name="connsiteX4" fmla="*/ 1522776 w 1522776"/>
              <a:gd name="connsiteY4" fmla="*/ 761377 h 1522754"/>
              <a:gd name="connsiteX5" fmla="*/ 761388 w 1522776"/>
              <a:gd name="connsiteY5" fmla="*/ 0 h 152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2776" h="1522754">
                <a:moveTo>
                  <a:pt x="761388" y="0"/>
                </a:moveTo>
                <a:lnTo>
                  <a:pt x="761388" y="0"/>
                </a:lnTo>
                <a:cubicBezTo>
                  <a:pt x="340721" y="0"/>
                  <a:pt x="0" y="340716"/>
                  <a:pt x="0" y="761377"/>
                </a:cubicBezTo>
                <a:cubicBezTo>
                  <a:pt x="0" y="1182038"/>
                  <a:pt x="340721" y="1522754"/>
                  <a:pt x="761388" y="1522754"/>
                </a:cubicBezTo>
                <a:cubicBezTo>
                  <a:pt x="1182055" y="1522754"/>
                  <a:pt x="1522776" y="1182038"/>
                  <a:pt x="1522776" y="761377"/>
                </a:cubicBezTo>
                <a:cubicBezTo>
                  <a:pt x="1522776" y="340716"/>
                  <a:pt x="1182055" y="0"/>
                  <a:pt x="761388" y="0"/>
                </a:cubicBezTo>
              </a:path>
            </a:pathLst>
          </a:custGeom>
          <a:solidFill>
            <a:srgbClr val="C4F2D9"/>
          </a:solidFill>
          <a:ln w="6340" cap="flat">
            <a:noFill/>
            <a:prstDash val="solid"/>
            <a:miter/>
          </a:ln>
        </p:spPr>
        <p:txBody>
          <a:bodyPr rtlCol="0" anchor="ctr"/>
          <a:lstStyle/>
          <a:p>
            <a:endParaRPr lang="nb-NO"/>
          </a:p>
        </p:txBody>
      </p:sp>
    </p:spTree>
    <p:extLst>
      <p:ext uri="{BB962C8B-B14F-4D97-AF65-F5344CB8AC3E}">
        <p14:creationId xmlns:p14="http://schemas.microsoft.com/office/powerpoint/2010/main" val="326145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Viktig budskap 1">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A1E81DA-46FA-4B2D-8AF9-530E2FC2C572}"/>
              </a:ext>
            </a:extLst>
          </p:cNvPr>
          <p:cNvSpPr>
            <a:spLocks noGrp="1"/>
          </p:cNvSpPr>
          <p:nvPr>
            <p:ph type="title"/>
          </p:nvPr>
        </p:nvSpPr>
        <p:spPr>
          <a:xfrm>
            <a:off x="6794204" y="365125"/>
            <a:ext cx="5241852" cy="1325563"/>
          </a:xfrm>
        </p:spPr>
        <p:txBody>
          <a:bodyPr>
            <a:normAutofit/>
          </a:bodyPr>
          <a:lstStyle>
            <a:lvl1pPr>
              <a:defRPr sz="3200"/>
            </a:lvl1pPr>
          </a:lstStyle>
          <a:p>
            <a:r>
              <a:rPr lang="nb-NO"/>
              <a:t>Klikk for å redigere tittelstil</a:t>
            </a:r>
            <a:endParaRPr lang="nb-NO" dirty="0"/>
          </a:p>
        </p:txBody>
      </p:sp>
      <p:sp>
        <p:nvSpPr>
          <p:cNvPr id="3" name="Plassholder for innhold 2">
            <a:extLst>
              <a:ext uri="{FF2B5EF4-FFF2-40B4-BE49-F238E27FC236}">
                <a16:creationId xmlns:a16="http://schemas.microsoft.com/office/drawing/2014/main" id="{41C9E0D7-564E-4B6F-B988-4671826B4DCA}"/>
              </a:ext>
            </a:extLst>
          </p:cNvPr>
          <p:cNvSpPr>
            <a:spLocks noGrp="1"/>
          </p:cNvSpPr>
          <p:nvPr>
            <p:ph idx="1"/>
          </p:nvPr>
        </p:nvSpPr>
        <p:spPr>
          <a:xfrm>
            <a:off x="6794204" y="1825625"/>
            <a:ext cx="5241852" cy="361760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Rectangle 75">
            <a:extLst>
              <a:ext uri="{FF2B5EF4-FFF2-40B4-BE49-F238E27FC236}">
                <a16:creationId xmlns:a16="http://schemas.microsoft.com/office/drawing/2014/main" id="{D51175D3-9D66-4F74-A28D-A84B913B1738}"/>
              </a:ext>
            </a:extLst>
          </p:cNvPr>
          <p:cNvSpPr/>
          <p:nvPr userDrawn="1"/>
        </p:nvSpPr>
        <p:spPr>
          <a:xfrm>
            <a:off x="6489759" y="1414767"/>
            <a:ext cx="5702833" cy="4741484"/>
          </a:xfrm>
          <a:prstGeom prst="rect">
            <a:avLst/>
          </a:prstGeom>
          <a:solidFill>
            <a:schemeClr val="bg1">
              <a:lumMod val="8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latin typeface="Microsoft JhengHei UI Light" panose="020B0304030504040204" pitchFamily="34" charset="-120"/>
              <a:ea typeface="Microsoft JhengHei UI Light" panose="020B0304030504040204" pitchFamily="34" charset="-120"/>
            </a:endParaRPr>
          </a:p>
        </p:txBody>
      </p:sp>
      <p:sp>
        <p:nvSpPr>
          <p:cNvPr id="5" name="Plassholder for bilde 2">
            <a:extLst>
              <a:ext uri="{FF2B5EF4-FFF2-40B4-BE49-F238E27FC236}">
                <a16:creationId xmlns:a16="http://schemas.microsoft.com/office/drawing/2014/main" id="{2C0F122E-913F-44DB-AD79-0E21281D98AC}"/>
              </a:ext>
            </a:extLst>
          </p:cNvPr>
          <p:cNvSpPr>
            <a:spLocks noGrp="1"/>
          </p:cNvSpPr>
          <p:nvPr>
            <p:ph type="pic" idx="10"/>
          </p:nvPr>
        </p:nvSpPr>
        <p:spPr>
          <a:xfrm>
            <a:off x="354071" y="365126"/>
            <a:ext cx="5979151" cy="619516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ikonet for å legge til et bilde</a:t>
            </a:r>
          </a:p>
        </p:txBody>
      </p:sp>
    </p:spTree>
    <p:extLst>
      <p:ext uri="{BB962C8B-B14F-4D97-AF65-F5344CB8AC3E}">
        <p14:creationId xmlns:p14="http://schemas.microsoft.com/office/powerpoint/2010/main" val="277322175"/>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tel og tekst">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334964" y="2548966"/>
            <a:ext cx="11522074" cy="226800"/>
          </a:xfrm>
        </p:spPr>
        <p:txBody>
          <a:bodyPr lIns="36000" rIns="36000" anchor="b" anchorCtr="0"/>
          <a:lstStyle>
            <a:lvl1pPr marL="0" indent="0">
              <a:lnSpc>
                <a:spcPct val="100000"/>
              </a:lnSpc>
              <a:spcBef>
                <a:spcPts val="0"/>
              </a:spcBef>
              <a:buNone/>
              <a:defRPr sz="1500">
                <a:solidFill>
                  <a:schemeClr val="accent1"/>
                </a:solidFill>
                <a:latin typeface="+mj-lt"/>
              </a:defRPr>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endParaRPr lang="en-US"/>
          </a:p>
        </p:txBody>
      </p:sp>
      <p:sp>
        <p:nvSpPr>
          <p:cNvPr id="11" name="Text Placeholder 10">
            <a:extLst>
              <a:ext uri="{FF2B5EF4-FFF2-40B4-BE49-F238E27FC236}">
                <a16:creationId xmlns:a16="http://schemas.microsoft.com/office/drawing/2014/main" id="{469BFE2F-70F0-4909-A7A4-165FFC422E83}"/>
              </a:ext>
            </a:extLst>
          </p:cNvPr>
          <p:cNvSpPr>
            <a:spLocks noGrp="1"/>
          </p:cNvSpPr>
          <p:nvPr>
            <p:ph type="body" sz="quarter" idx="14" hasCustomPrompt="1"/>
          </p:nvPr>
        </p:nvSpPr>
        <p:spPr>
          <a:xfrm>
            <a:off x="334964" y="2914922"/>
            <a:ext cx="11522074" cy="3609704"/>
          </a:xfrm>
          <a:prstGeom prst="rect">
            <a:avLst/>
          </a:prstGeom>
        </p:spPr>
        <p:txBody>
          <a:bodyPr lIns="36000" tIns="0" rIns="0" bIns="0" numCol="1" spcCol="1080000"/>
          <a:lstStyle>
            <a:lvl1pPr marL="179423" indent="-179423" algn="l">
              <a:lnSpc>
                <a:spcPct val="120000"/>
              </a:lnSpc>
              <a:spcBef>
                <a:spcPts val="900"/>
              </a:spcBef>
              <a:spcAft>
                <a:spcPts val="0"/>
              </a:spcAft>
              <a:buClrTx/>
              <a:buFont typeface="Arial" panose="020B0604020202020204" pitchFamily="34" charset="0"/>
              <a:buChar char="•"/>
              <a:defRPr sz="1200" b="0" i="0" u="none" cap="none">
                <a:solidFill>
                  <a:srgbClr val="000000"/>
                </a:solidFill>
                <a:latin typeface="+mn-lt"/>
              </a:defRPr>
            </a:lvl1pPr>
            <a:lvl2pPr marL="685834" indent="-228611" algn="l">
              <a:lnSpc>
                <a:spcPct val="120000"/>
              </a:lnSpc>
              <a:spcBef>
                <a:spcPts val="500"/>
              </a:spcBef>
              <a:spcAft>
                <a:spcPts val="0"/>
              </a:spcAft>
              <a:buClrTx/>
              <a:buFont typeface="Arial" panose="020B0604020202020204" pitchFamily="34" charset="0"/>
              <a:buChar char="•"/>
              <a:defRPr sz="1200" b="0" i="0" u="none" cap="none">
                <a:solidFill>
                  <a:srgbClr val="000000"/>
                </a:solidFill>
                <a:latin typeface="+mn-lt"/>
              </a:defRPr>
            </a:lvl2pPr>
            <a:lvl3pPr marL="1143057" indent="-228611" algn="l">
              <a:lnSpc>
                <a:spcPct val="120000"/>
              </a:lnSpc>
              <a:spcBef>
                <a:spcPts val="500"/>
              </a:spcBef>
              <a:spcAft>
                <a:spcPts val="0"/>
              </a:spcAft>
              <a:buClrTx/>
              <a:buFont typeface="Arial" panose="020B0604020202020204" pitchFamily="34" charset="0"/>
              <a:buChar char="•"/>
              <a:defRPr sz="1200" b="0" i="0" u="none" cap="none">
                <a:solidFill>
                  <a:srgbClr val="000000"/>
                </a:solidFill>
                <a:latin typeface="+mn-lt"/>
              </a:defRPr>
            </a:lvl3pPr>
            <a:lvl4pPr marL="1600280" indent="-228611" algn="l">
              <a:lnSpc>
                <a:spcPct val="120000"/>
              </a:lnSpc>
              <a:spcBef>
                <a:spcPts val="500"/>
              </a:spcBef>
              <a:spcAft>
                <a:spcPts val="0"/>
              </a:spcAft>
              <a:buClrTx/>
              <a:buFont typeface="Arial" panose="020B0604020202020204" pitchFamily="34" charset="0"/>
              <a:buChar char="•"/>
              <a:defRPr sz="1200" b="0" i="0" u="none" cap="none">
                <a:solidFill>
                  <a:srgbClr val="000000"/>
                </a:solidFill>
                <a:latin typeface="+mn-lt"/>
              </a:defRPr>
            </a:lvl4pPr>
            <a:lvl5pPr marL="2057503" indent="-228611" algn="l">
              <a:lnSpc>
                <a:spcPct val="120000"/>
              </a:lnSpc>
              <a:spcBef>
                <a:spcPts val="500"/>
              </a:spcBef>
              <a:spcAft>
                <a:spcPts val="0"/>
              </a:spcAft>
              <a:buClrTx/>
              <a:buFont typeface="Arial" panose="020B0604020202020204" pitchFamily="34" charset="0"/>
              <a:buChar char="•"/>
              <a:defRPr sz="12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5AC809EE-3F49-2D4E-8F85-316813737CAC}"/>
              </a:ext>
            </a:extLst>
          </p:cNvPr>
          <p:cNvSpPr>
            <a:spLocks noGrp="1"/>
          </p:cNvSpPr>
          <p:nvPr>
            <p:ph type="title"/>
          </p:nvPr>
        </p:nvSpPr>
        <p:spPr>
          <a:xfrm>
            <a:off x="334962" y="769938"/>
            <a:ext cx="11522075" cy="990496"/>
          </a:xfrm>
        </p:spPr>
        <p:txBody>
          <a:bodyPr anchor="t"/>
          <a:lstStyle>
            <a:lvl1pPr>
              <a:defRPr sz="4001">
                <a:solidFill>
                  <a:schemeClr val="tx2"/>
                </a:solidFill>
              </a:defRPr>
            </a:lvl1pPr>
          </a:lstStyle>
          <a:p>
            <a:endParaRPr lang="en-US"/>
          </a:p>
        </p:txBody>
      </p:sp>
      <p:sp>
        <p:nvSpPr>
          <p:cNvPr id="10" name="Subtitle 2">
            <a:extLst>
              <a:ext uri="{FF2B5EF4-FFF2-40B4-BE49-F238E27FC236}">
                <a16:creationId xmlns:a16="http://schemas.microsoft.com/office/drawing/2014/main" id="{7901C5B3-DC6C-E84A-9BB2-7FDB44B0F3DD}"/>
              </a:ext>
            </a:extLst>
          </p:cNvPr>
          <p:cNvSpPr>
            <a:spLocks noGrp="1"/>
          </p:cNvSpPr>
          <p:nvPr>
            <p:ph type="subTitle" idx="1"/>
          </p:nvPr>
        </p:nvSpPr>
        <p:spPr>
          <a:xfrm>
            <a:off x="334962" y="333375"/>
            <a:ext cx="11522075" cy="226800"/>
          </a:xfrm>
        </p:spPr>
        <p:txBody>
          <a:bodyPr lIns="36000" rIns="36000" anchor="b" anchorCtr="0"/>
          <a:lstStyle>
            <a:lvl1pPr marL="0" indent="0" algn="l">
              <a:lnSpc>
                <a:spcPct val="100000"/>
              </a:lnSpc>
              <a:spcBef>
                <a:spcPts val="0"/>
              </a:spcBef>
              <a:buNone/>
              <a:defRPr sz="1500">
                <a:solidFill>
                  <a:schemeClr val="accent1"/>
                </a:solidFill>
                <a:latin typeface="+mj-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Tree>
    <p:extLst>
      <p:ext uri="{BB962C8B-B14F-4D97-AF65-F5344CB8AC3E}">
        <p14:creationId xmlns:p14="http://schemas.microsoft.com/office/powerpoint/2010/main" val="303881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tektbokser">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334963" y="2548966"/>
            <a:ext cx="3708400" cy="226800"/>
          </a:xfrm>
        </p:spPr>
        <p:txBody>
          <a:bodyPr lIns="36000" rIns="36000" anchor="b" anchorCtr="0"/>
          <a:lstStyle>
            <a:lvl1pPr marL="0" indent="0">
              <a:lnSpc>
                <a:spcPct val="100000"/>
              </a:lnSpc>
              <a:spcBef>
                <a:spcPts val="0"/>
              </a:spcBef>
              <a:buNone/>
              <a:defRPr sz="1500">
                <a:solidFill>
                  <a:schemeClr val="accent1"/>
                </a:solidFill>
                <a:latin typeface="+mj-lt"/>
              </a:defRPr>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endParaRPr lang="en-US"/>
          </a:p>
        </p:txBody>
      </p:sp>
      <p:sp>
        <p:nvSpPr>
          <p:cNvPr id="6" name="Text Placeholder 10">
            <a:extLst>
              <a:ext uri="{FF2B5EF4-FFF2-40B4-BE49-F238E27FC236}">
                <a16:creationId xmlns:a16="http://schemas.microsoft.com/office/drawing/2014/main" id="{E0CB6E16-7AD9-4BFF-9C3F-E3D6979B5E08}"/>
              </a:ext>
            </a:extLst>
          </p:cNvPr>
          <p:cNvSpPr>
            <a:spLocks noGrp="1"/>
          </p:cNvSpPr>
          <p:nvPr>
            <p:ph type="body" sz="quarter" idx="14" hasCustomPrompt="1"/>
          </p:nvPr>
        </p:nvSpPr>
        <p:spPr>
          <a:xfrm>
            <a:off x="334963" y="2914922"/>
            <a:ext cx="3708400" cy="3609704"/>
          </a:xfrm>
          <a:prstGeom prst="rect">
            <a:avLst/>
          </a:prstGeom>
        </p:spPr>
        <p:txBody>
          <a:bodyPr lIns="36000" tIns="0" rIns="36000" bIns="0" numCol="1" spcCol="1080000"/>
          <a:lstStyle>
            <a:lvl1pPr marL="179423" indent="-179423" algn="l">
              <a:lnSpc>
                <a:spcPct val="120000"/>
              </a:lnSpc>
              <a:spcBef>
                <a:spcPts val="900"/>
              </a:spcBef>
              <a:spcAft>
                <a:spcPts val="0"/>
              </a:spcAft>
              <a:buClrTx/>
              <a:buFont typeface="Arial" panose="020B0604020202020204" pitchFamily="34" charset="0"/>
              <a:buChar char="•"/>
              <a:defRPr sz="1200" b="0" i="0" u="none" cap="none">
                <a:solidFill>
                  <a:schemeClr val="tx1"/>
                </a:solidFill>
                <a:latin typeface="+mn-lt"/>
              </a:defRPr>
            </a:lvl1pPr>
            <a:lvl2pPr marL="685834"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2pPr>
            <a:lvl3pPr marL="1143057"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3pPr>
            <a:lvl4pPr marL="1600280"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4pPr>
            <a:lvl5pPr marL="2057503"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a:extLst>
              <a:ext uri="{FF2B5EF4-FFF2-40B4-BE49-F238E27FC236}">
                <a16:creationId xmlns:a16="http://schemas.microsoft.com/office/drawing/2014/main" id="{890C7976-4FD2-43E0-9B2F-7A53D2C34C14}"/>
              </a:ext>
            </a:extLst>
          </p:cNvPr>
          <p:cNvSpPr>
            <a:spLocks noGrp="1"/>
          </p:cNvSpPr>
          <p:nvPr>
            <p:ph type="body" sz="quarter" idx="15" hasCustomPrompt="1"/>
          </p:nvPr>
        </p:nvSpPr>
        <p:spPr>
          <a:xfrm>
            <a:off x="4259263" y="2914922"/>
            <a:ext cx="3673475" cy="3609704"/>
          </a:xfrm>
          <a:prstGeom prst="rect">
            <a:avLst/>
          </a:prstGeom>
        </p:spPr>
        <p:txBody>
          <a:bodyPr lIns="36000" tIns="0" rIns="36000" bIns="0" numCol="1" spcCol="1080000"/>
          <a:lstStyle>
            <a:lvl1pPr marL="179423" indent="-179423" algn="l">
              <a:lnSpc>
                <a:spcPct val="120000"/>
              </a:lnSpc>
              <a:spcBef>
                <a:spcPts val="900"/>
              </a:spcBef>
              <a:spcAft>
                <a:spcPts val="0"/>
              </a:spcAft>
              <a:buClrTx/>
              <a:buFont typeface="Arial" panose="020B0604020202020204" pitchFamily="34" charset="0"/>
              <a:buChar char="•"/>
              <a:defRPr sz="1200" b="0" i="0" u="none" cap="none">
                <a:solidFill>
                  <a:schemeClr val="tx1"/>
                </a:solidFill>
                <a:latin typeface="+mn-lt"/>
              </a:defRPr>
            </a:lvl1pPr>
            <a:lvl2pPr marL="685834"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2pPr>
            <a:lvl3pPr marL="1143057"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3pPr>
            <a:lvl4pPr marL="1600280"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4pPr>
            <a:lvl5pPr marL="2057503"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0">
            <a:extLst>
              <a:ext uri="{FF2B5EF4-FFF2-40B4-BE49-F238E27FC236}">
                <a16:creationId xmlns:a16="http://schemas.microsoft.com/office/drawing/2014/main" id="{F9E6322A-D46D-46B2-8113-B412BF356C76}"/>
              </a:ext>
            </a:extLst>
          </p:cNvPr>
          <p:cNvSpPr>
            <a:spLocks noGrp="1"/>
          </p:cNvSpPr>
          <p:nvPr>
            <p:ph type="body" sz="quarter" idx="16" hasCustomPrompt="1"/>
          </p:nvPr>
        </p:nvSpPr>
        <p:spPr>
          <a:xfrm>
            <a:off x="8148637" y="2914922"/>
            <a:ext cx="3708401" cy="3609704"/>
          </a:xfrm>
          <a:prstGeom prst="rect">
            <a:avLst/>
          </a:prstGeom>
        </p:spPr>
        <p:txBody>
          <a:bodyPr lIns="36000" tIns="0" rIns="36000" bIns="0" numCol="1" spcCol="1080000"/>
          <a:lstStyle>
            <a:lvl1pPr marL="179423" indent="-179423" algn="l">
              <a:lnSpc>
                <a:spcPct val="120000"/>
              </a:lnSpc>
              <a:spcBef>
                <a:spcPts val="900"/>
              </a:spcBef>
              <a:spcAft>
                <a:spcPts val="0"/>
              </a:spcAft>
              <a:buClrTx/>
              <a:buFont typeface="Arial" panose="020B0604020202020204" pitchFamily="34" charset="0"/>
              <a:buChar char="•"/>
              <a:defRPr sz="1200" b="0" i="0" u="none" cap="none">
                <a:solidFill>
                  <a:schemeClr val="tx1"/>
                </a:solidFill>
                <a:latin typeface="+mn-lt"/>
              </a:defRPr>
            </a:lvl1pPr>
            <a:lvl2pPr marL="685834"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2pPr>
            <a:lvl3pPr marL="1143057"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3pPr>
            <a:lvl4pPr marL="1600280"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4pPr>
            <a:lvl5pPr marL="2057503" indent="-228611" algn="l">
              <a:lnSpc>
                <a:spcPct val="120000"/>
              </a:lnSpc>
              <a:spcBef>
                <a:spcPts val="500"/>
              </a:spcBef>
              <a:spcAft>
                <a:spcPts val="0"/>
              </a:spcAft>
              <a:buClrTx/>
              <a:buFont typeface="Arial" panose="020B0604020202020204" pitchFamily="34" charset="0"/>
              <a:buChar char="•"/>
              <a:defRPr sz="1200" b="0" i="0" u="none" cap="none">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BA05E1C6-6C57-4909-AAF0-F941974E02B6}"/>
              </a:ext>
            </a:extLst>
          </p:cNvPr>
          <p:cNvSpPr>
            <a:spLocks noGrp="1"/>
          </p:cNvSpPr>
          <p:nvPr>
            <p:ph type="body" sz="half" idx="17"/>
          </p:nvPr>
        </p:nvSpPr>
        <p:spPr>
          <a:xfrm>
            <a:off x="4259263" y="2548965"/>
            <a:ext cx="3673475" cy="226800"/>
          </a:xfrm>
        </p:spPr>
        <p:txBody>
          <a:bodyPr lIns="36000" rIns="36000" anchor="b" anchorCtr="0"/>
          <a:lstStyle>
            <a:lvl1pPr marL="0" indent="0">
              <a:lnSpc>
                <a:spcPct val="100000"/>
              </a:lnSpc>
              <a:spcBef>
                <a:spcPts val="0"/>
              </a:spcBef>
              <a:buNone/>
              <a:defRPr sz="1500">
                <a:solidFill>
                  <a:schemeClr val="accent1"/>
                </a:solidFill>
                <a:latin typeface="+mj-lt"/>
              </a:defRPr>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endParaRPr lang="en-US"/>
          </a:p>
        </p:txBody>
      </p:sp>
      <p:sp>
        <p:nvSpPr>
          <p:cNvPr id="11" name="Text Placeholder 3">
            <a:extLst>
              <a:ext uri="{FF2B5EF4-FFF2-40B4-BE49-F238E27FC236}">
                <a16:creationId xmlns:a16="http://schemas.microsoft.com/office/drawing/2014/main" id="{28C938D6-1061-47E7-AD16-607F5E7F3E61}"/>
              </a:ext>
            </a:extLst>
          </p:cNvPr>
          <p:cNvSpPr>
            <a:spLocks noGrp="1"/>
          </p:cNvSpPr>
          <p:nvPr>
            <p:ph type="body" sz="half" idx="18"/>
          </p:nvPr>
        </p:nvSpPr>
        <p:spPr>
          <a:xfrm>
            <a:off x="8148637" y="2548965"/>
            <a:ext cx="3708401" cy="226800"/>
          </a:xfrm>
        </p:spPr>
        <p:txBody>
          <a:bodyPr lIns="36000" rIns="36000" anchor="b" anchorCtr="0"/>
          <a:lstStyle>
            <a:lvl1pPr marL="0" indent="0">
              <a:lnSpc>
                <a:spcPct val="100000"/>
              </a:lnSpc>
              <a:spcBef>
                <a:spcPts val="0"/>
              </a:spcBef>
              <a:buNone/>
              <a:defRPr sz="1500">
                <a:solidFill>
                  <a:schemeClr val="accent1"/>
                </a:solidFill>
                <a:latin typeface="+mj-lt"/>
              </a:defRPr>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endParaRPr lang="en-US"/>
          </a:p>
        </p:txBody>
      </p:sp>
      <p:sp>
        <p:nvSpPr>
          <p:cNvPr id="15" name="Title 1">
            <a:extLst>
              <a:ext uri="{FF2B5EF4-FFF2-40B4-BE49-F238E27FC236}">
                <a16:creationId xmlns:a16="http://schemas.microsoft.com/office/drawing/2014/main" id="{9069A0F9-BB6E-2E42-BA17-FD6E8B4D430B}"/>
              </a:ext>
            </a:extLst>
          </p:cNvPr>
          <p:cNvSpPr>
            <a:spLocks noGrp="1"/>
          </p:cNvSpPr>
          <p:nvPr>
            <p:ph type="title"/>
          </p:nvPr>
        </p:nvSpPr>
        <p:spPr>
          <a:xfrm>
            <a:off x="334962" y="769938"/>
            <a:ext cx="11522075" cy="990496"/>
          </a:xfrm>
        </p:spPr>
        <p:txBody>
          <a:bodyPr anchor="t"/>
          <a:lstStyle>
            <a:lvl1pPr>
              <a:defRPr sz="4001">
                <a:solidFill>
                  <a:schemeClr val="tx2"/>
                </a:solidFill>
              </a:defRPr>
            </a:lvl1pPr>
          </a:lstStyle>
          <a:p>
            <a:endParaRPr lang="en-US"/>
          </a:p>
        </p:txBody>
      </p:sp>
      <p:sp>
        <p:nvSpPr>
          <p:cNvPr id="17" name="Subtitle 2">
            <a:extLst>
              <a:ext uri="{FF2B5EF4-FFF2-40B4-BE49-F238E27FC236}">
                <a16:creationId xmlns:a16="http://schemas.microsoft.com/office/drawing/2014/main" id="{58AC478F-713F-8848-9CB9-349C0A88066A}"/>
              </a:ext>
            </a:extLst>
          </p:cNvPr>
          <p:cNvSpPr>
            <a:spLocks noGrp="1"/>
          </p:cNvSpPr>
          <p:nvPr>
            <p:ph type="subTitle" idx="1"/>
          </p:nvPr>
        </p:nvSpPr>
        <p:spPr>
          <a:xfrm>
            <a:off x="334962" y="333375"/>
            <a:ext cx="11522075" cy="226800"/>
          </a:xfrm>
        </p:spPr>
        <p:txBody>
          <a:bodyPr lIns="36000" rIns="36000" anchor="b" anchorCtr="0"/>
          <a:lstStyle>
            <a:lvl1pPr marL="0" indent="0" algn="l">
              <a:lnSpc>
                <a:spcPct val="100000"/>
              </a:lnSpc>
              <a:spcBef>
                <a:spcPts val="0"/>
              </a:spcBef>
              <a:buNone/>
              <a:defRPr sz="1500">
                <a:solidFill>
                  <a:schemeClr val="accent1"/>
                </a:solidFill>
                <a:latin typeface="+mj-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Tree>
    <p:extLst>
      <p:ext uri="{BB962C8B-B14F-4D97-AF65-F5344CB8AC3E}">
        <p14:creationId xmlns:p14="http://schemas.microsoft.com/office/powerpoint/2010/main" val="4263015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tel og stort bilde">
    <p:bg>
      <p:bgPr>
        <a:solidFill>
          <a:schemeClr val="l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4963" y="1803420"/>
            <a:ext cx="3718581" cy="2497230"/>
          </a:xfrm>
        </p:spPr>
        <p:txBody>
          <a:bodyPr anchor="t"/>
          <a:lstStyle>
            <a:lvl1pPr>
              <a:lnSpc>
                <a:spcPct val="100000"/>
              </a:lnSpc>
              <a:defRPr sz="4001">
                <a:solidFill>
                  <a:schemeClr val="tx2"/>
                </a:solidFill>
              </a:defRPr>
            </a:lvl1pPr>
          </a:lstStyle>
          <a:p>
            <a:endParaRPr lang="en-US"/>
          </a:p>
        </p:txBody>
      </p:sp>
      <p:sp>
        <p:nvSpPr>
          <p:cNvPr id="10" name="Subtitle 2">
            <a:extLst>
              <a:ext uri="{FF2B5EF4-FFF2-40B4-BE49-F238E27FC236}">
                <a16:creationId xmlns:a16="http://schemas.microsoft.com/office/drawing/2014/main" id="{FAB4F056-8D2E-43DE-9B1C-57045AB28601}"/>
              </a:ext>
            </a:extLst>
          </p:cNvPr>
          <p:cNvSpPr>
            <a:spLocks noGrp="1"/>
          </p:cNvSpPr>
          <p:nvPr>
            <p:ph type="subTitle" idx="1"/>
          </p:nvPr>
        </p:nvSpPr>
        <p:spPr>
          <a:xfrm>
            <a:off x="356233" y="1341438"/>
            <a:ext cx="3686400" cy="226800"/>
          </a:xfrm>
        </p:spPr>
        <p:txBody>
          <a:bodyPr lIns="36000" rIns="36000" anchor="b" anchorCtr="0"/>
          <a:lstStyle>
            <a:lvl1pPr marL="0" indent="0" algn="l">
              <a:lnSpc>
                <a:spcPct val="100000"/>
              </a:lnSpc>
              <a:spcBef>
                <a:spcPts val="0"/>
              </a:spcBef>
              <a:buNone/>
              <a:defRPr sz="1500">
                <a:solidFill>
                  <a:schemeClr val="accent1"/>
                </a:solidFill>
                <a:latin typeface="+mj-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
        <p:nvSpPr>
          <p:cNvPr id="6" name="Picture Placeholder 5">
            <a:extLst>
              <a:ext uri="{FF2B5EF4-FFF2-40B4-BE49-F238E27FC236}">
                <a16:creationId xmlns:a16="http://schemas.microsoft.com/office/drawing/2014/main" id="{93E69A02-BC16-4E66-BB7F-88712DA3A27E}"/>
              </a:ext>
            </a:extLst>
          </p:cNvPr>
          <p:cNvSpPr>
            <a:spLocks noGrp="1"/>
          </p:cNvSpPr>
          <p:nvPr>
            <p:ph type="pic" sz="quarter" idx="10"/>
          </p:nvPr>
        </p:nvSpPr>
        <p:spPr>
          <a:xfrm>
            <a:off x="4262993" y="369137"/>
            <a:ext cx="7562247" cy="6120521"/>
          </a:xfrm>
          <a:solidFill>
            <a:schemeClr val="bg1">
              <a:lumMod val="85000"/>
            </a:schemeClr>
          </a:solidFill>
        </p:spPr>
        <p:txBody>
          <a:bodyPr/>
          <a:lstStyle>
            <a:lvl1pPr marL="0" indent="0">
              <a:buNone/>
              <a:defRPr/>
            </a:lvl1pPr>
          </a:lstStyle>
          <a:p>
            <a:endParaRPr lang="en-US"/>
          </a:p>
        </p:txBody>
      </p:sp>
    </p:spTree>
    <p:extLst>
      <p:ext uri="{BB962C8B-B14F-4D97-AF65-F5344CB8AC3E}">
        <p14:creationId xmlns:p14="http://schemas.microsoft.com/office/powerpoint/2010/main" val="1815881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kst med bilde og grafikk">
    <p:bg>
      <p:bgPr>
        <a:solidFill>
          <a:schemeClr val="lt1"/>
        </a:solidFill>
        <a:effectLst/>
      </p:bgPr>
    </p:bg>
    <p:spTree>
      <p:nvGrpSpPr>
        <p:cNvPr id="1" name=""/>
        <p:cNvGrpSpPr/>
        <p:nvPr/>
      </p:nvGrpSpPr>
      <p:grpSpPr>
        <a:xfrm>
          <a:off x="0" y="0"/>
          <a:ext cx="0" cy="0"/>
          <a:chOff x="0" y="0"/>
          <a:chExt cx="0" cy="0"/>
        </a:xfrm>
      </p:grpSpPr>
      <p:grpSp>
        <p:nvGrpSpPr>
          <p:cNvPr id="2" name="Graphic 6">
            <a:extLst>
              <a:ext uri="{FF2B5EF4-FFF2-40B4-BE49-F238E27FC236}">
                <a16:creationId xmlns:a16="http://schemas.microsoft.com/office/drawing/2014/main" id="{3A27129B-9B09-4C4F-96FA-0120442FFF1A}"/>
              </a:ext>
            </a:extLst>
          </p:cNvPr>
          <p:cNvGrpSpPr/>
          <p:nvPr/>
        </p:nvGrpSpPr>
        <p:grpSpPr>
          <a:xfrm>
            <a:off x="5753849" y="389304"/>
            <a:ext cx="6071738" cy="6071650"/>
            <a:chOff x="5753849" y="389304"/>
            <a:chExt cx="6071738" cy="6071650"/>
          </a:xfrm>
        </p:grpSpPr>
        <p:sp>
          <p:nvSpPr>
            <p:cNvPr id="3" name="Freeform: Shape 2">
              <a:extLst>
                <a:ext uri="{FF2B5EF4-FFF2-40B4-BE49-F238E27FC236}">
                  <a16:creationId xmlns:a16="http://schemas.microsoft.com/office/drawing/2014/main" id="{76634209-94FF-4EC7-8676-1CB9ED3DB4F3}"/>
                </a:ext>
              </a:extLst>
            </p:cNvPr>
            <p:cNvSpPr/>
            <p:nvPr/>
          </p:nvSpPr>
          <p:spPr>
            <a:xfrm>
              <a:off x="9396891" y="1603634"/>
              <a:ext cx="1214347" cy="1214330"/>
            </a:xfrm>
            <a:custGeom>
              <a:avLst/>
              <a:gdLst>
                <a:gd name="connsiteX0" fmla="*/ 607174 w 1214347"/>
                <a:gd name="connsiteY0" fmla="*/ 0 h 1214330"/>
                <a:gd name="connsiteX1" fmla="*/ 607174 w 1214347"/>
                <a:gd name="connsiteY1" fmla="*/ 0 h 1214330"/>
                <a:gd name="connsiteX2" fmla="*/ 1214348 w 1214347"/>
                <a:gd name="connsiteY2" fmla="*/ 607165 h 1214330"/>
                <a:gd name="connsiteX3" fmla="*/ 607174 w 1214347"/>
                <a:gd name="connsiteY3" fmla="*/ 1214330 h 1214330"/>
                <a:gd name="connsiteX4" fmla="*/ 0 w 1214347"/>
                <a:gd name="connsiteY4" fmla="*/ 607165 h 1214330"/>
                <a:gd name="connsiteX5" fmla="*/ 607174 w 1214347"/>
                <a:gd name="connsiteY5" fmla="*/ 0 h 12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4347" h="1214330">
                  <a:moveTo>
                    <a:pt x="607174" y="0"/>
                  </a:moveTo>
                  <a:lnTo>
                    <a:pt x="607174" y="0"/>
                  </a:lnTo>
                  <a:cubicBezTo>
                    <a:pt x="942384" y="0"/>
                    <a:pt x="1214348" y="271959"/>
                    <a:pt x="1214348" y="607165"/>
                  </a:cubicBezTo>
                  <a:cubicBezTo>
                    <a:pt x="1214348" y="942371"/>
                    <a:pt x="942384" y="1214330"/>
                    <a:pt x="607174" y="1214330"/>
                  </a:cubicBezTo>
                  <a:cubicBezTo>
                    <a:pt x="271963" y="1214330"/>
                    <a:pt x="0" y="942371"/>
                    <a:pt x="0" y="607165"/>
                  </a:cubicBezTo>
                  <a:cubicBezTo>
                    <a:pt x="0" y="271959"/>
                    <a:pt x="271963" y="0"/>
                    <a:pt x="607174" y="0"/>
                  </a:cubicBezTo>
                </a:path>
              </a:pathLst>
            </a:custGeom>
            <a:solidFill>
              <a:srgbClr val="12A680"/>
            </a:solidFill>
            <a:ln w="6320" cap="flat">
              <a:noFill/>
              <a:prstDash val="solid"/>
              <a:miter/>
            </a:ln>
          </p:spPr>
          <p:txBody>
            <a:bodyPr rtlCol="0" anchor="ctr"/>
            <a:lstStyle/>
            <a:p>
              <a:endParaRPr lang="nb-NO"/>
            </a:p>
          </p:txBody>
        </p:sp>
        <p:sp>
          <p:nvSpPr>
            <p:cNvPr id="4" name="Freeform: Shape 3">
              <a:extLst>
                <a:ext uri="{FF2B5EF4-FFF2-40B4-BE49-F238E27FC236}">
                  <a16:creationId xmlns:a16="http://schemas.microsoft.com/office/drawing/2014/main" id="{79E32023-56A1-4315-B81B-5838861C375D}"/>
                </a:ext>
              </a:extLst>
            </p:cNvPr>
            <p:cNvSpPr/>
            <p:nvPr/>
          </p:nvSpPr>
          <p:spPr>
            <a:xfrm>
              <a:off x="8182544" y="2817964"/>
              <a:ext cx="3643042" cy="1214330"/>
            </a:xfrm>
            <a:custGeom>
              <a:avLst/>
              <a:gdLst>
                <a:gd name="connsiteX0" fmla="*/ 607174 w 3643042"/>
                <a:gd name="connsiteY0" fmla="*/ 0 h 1214330"/>
                <a:gd name="connsiteX1" fmla="*/ 3035869 w 3643042"/>
                <a:gd name="connsiteY1" fmla="*/ 0 h 1214330"/>
                <a:gd name="connsiteX2" fmla="*/ 3643043 w 3643042"/>
                <a:gd name="connsiteY2" fmla="*/ 607165 h 1214330"/>
                <a:gd name="connsiteX3" fmla="*/ 3035869 w 3643042"/>
                <a:gd name="connsiteY3" fmla="*/ 1214330 h 1214330"/>
                <a:gd name="connsiteX4" fmla="*/ 607174 w 3643042"/>
                <a:gd name="connsiteY4" fmla="*/ 1214330 h 1214330"/>
                <a:gd name="connsiteX5" fmla="*/ 0 w 3643042"/>
                <a:gd name="connsiteY5" fmla="*/ 607165 h 1214330"/>
                <a:gd name="connsiteX6" fmla="*/ 607174 w 3643042"/>
                <a:gd name="connsiteY6" fmla="*/ 0 h 12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3042" h="1214330">
                  <a:moveTo>
                    <a:pt x="607174" y="0"/>
                  </a:moveTo>
                  <a:lnTo>
                    <a:pt x="3035869" y="0"/>
                  </a:lnTo>
                  <a:cubicBezTo>
                    <a:pt x="3371080" y="0"/>
                    <a:pt x="3643043" y="271959"/>
                    <a:pt x="3643043" y="607165"/>
                  </a:cubicBezTo>
                  <a:cubicBezTo>
                    <a:pt x="3643043" y="942371"/>
                    <a:pt x="3371080" y="1214330"/>
                    <a:pt x="3035869" y="1214330"/>
                  </a:cubicBezTo>
                  <a:lnTo>
                    <a:pt x="607174" y="1214330"/>
                  </a:lnTo>
                  <a:cubicBezTo>
                    <a:pt x="271963" y="1214330"/>
                    <a:pt x="0" y="942371"/>
                    <a:pt x="0" y="607165"/>
                  </a:cubicBezTo>
                  <a:cubicBezTo>
                    <a:pt x="0" y="271959"/>
                    <a:pt x="271963" y="0"/>
                    <a:pt x="607174" y="0"/>
                  </a:cubicBezTo>
                </a:path>
              </a:pathLst>
            </a:custGeom>
            <a:solidFill>
              <a:srgbClr val="C4F2D9"/>
            </a:solidFill>
            <a:ln w="6320" cap="flat">
              <a:noFill/>
              <a:prstDash val="solid"/>
              <a:miter/>
            </a:ln>
          </p:spPr>
          <p:txBody>
            <a:bodyPr rtlCol="0" anchor="ctr"/>
            <a:lstStyle/>
            <a:p>
              <a:endParaRPr lang="nb-NO"/>
            </a:p>
          </p:txBody>
        </p:sp>
        <p:sp>
          <p:nvSpPr>
            <p:cNvPr id="5" name="Freeform: Shape 4">
              <a:extLst>
                <a:ext uri="{FF2B5EF4-FFF2-40B4-BE49-F238E27FC236}">
                  <a16:creationId xmlns:a16="http://schemas.microsoft.com/office/drawing/2014/main" id="{CD3D99EC-EC5C-4741-9081-4473B76D70ED}"/>
                </a:ext>
              </a:extLst>
            </p:cNvPr>
            <p:cNvSpPr/>
            <p:nvPr/>
          </p:nvSpPr>
          <p:spPr>
            <a:xfrm>
              <a:off x="5753849" y="389304"/>
              <a:ext cx="2428695" cy="1214330"/>
            </a:xfrm>
            <a:custGeom>
              <a:avLst/>
              <a:gdLst>
                <a:gd name="connsiteX0" fmla="*/ 607174 w 2428695"/>
                <a:gd name="connsiteY0" fmla="*/ 0 h 1214330"/>
                <a:gd name="connsiteX1" fmla="*/ 1821521 w 2428695"/>
                <a:gd name="connsiteY1" fmla="*/ 0 h 1214330"/>
                <a:gd name="connsiteX2" fmla="*/ 2428695 w 2428695"/>
                <a:gd name="connsiteY2" fmla="*/ 607165 h 1214330"/>
                <a:gd name="connsiteX3" fmla="*/ 1821521 w 2428695"/>
                <a:gd name="connsiteY3" fmla="*/ 1214330 h 1214330"/>
                <a:gd name="connsiteX4" fmla="*/ 607174 w 2428695"/>
                <a:gd name="connsiteY4" fmla="*/ 1214330 h 1214330"/>
                <a:gd name="connsiteX5" fmla="*/ 0 w 2428695"/>
                <a:gd name="connsiteY5" fmla="*/ 607165 h 1214330"/>
                <a:gd name="connsiteX6" fmla="*/ 607174 w 2428695"/>
                <a:gd name="connsiteY6" fmla="*/ 0 h 1214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8695" h="1214330">
                  <a:moveTo>
                    <a:pt x="607174" y="0"/>
                  </a:moveTo>
                  <a:lnTo>
                    <a:pt x="1821521" y="0"/>
                  </a:lnTo>
                  <a:cubicBezTo>
                    <a:pt x="2156732" y="0"/>
                    <a:pt x="2428695" y="271959"/>
                    <a:pt x="2428695" y="607165"/>
                  </a:cubicBezTo>
                  <a:cubicBezTo>
                    <a:pt x="2428695" y="942371"/>
                    <a:pt x="2156732" y="1214330"/>
                    <a:pt x="1821521" y="1214330"/>
                  </a:cubicBezTo>
                  <a:lnTo>
                    <a:pt x="607174" y="1214330"/>
                  </a:lnTo>
                  <a:cubicBezTo>
                    <a:pt x="271963" y="1214330"/>
                    <a:pt x="0" y="942371"/>
                    <a:pt x="0" y="607165"/>
                  </a:cubicBezTo>
                  <a:cubicBezTo>
                    <a:pt x="0" y="271959"/>
                    <a:pt x="271963" y="0"/>
                    <a:pt x="607174" y="0"/>
                  </a:cubicBezTo>
                </a:path>
              </a:pathLst>
            </a:custGeom>
            <a:solidFill>
              <a:srgbClr val="7AF0B2"/>
            </a:solidFill>
            <a:ln w="6320" cap="flat">
              <a:noFill/>
              <a:prstDash val="solid"/>
              <a:miter/>
            </a:ln>
          </p:spPr>
          <p:txBody>
            <a:bodyPr rtlCol="0" anchor="ctr"/>
            <a:lstStyle/>
            <a:p>
              <a:endParaRPr lang="nb-NO"/>
            </a:p>
          </p:txBody>
        </p:sp>
        <p:sp>
          <p:nvSpPr>
            <p:cNvPr id="9" name="Freeform: Shape 8">
              <a:extLst>
                <a:ext uri="{FF2B5EF4-FFF2-40B4-BE49-F238E27FC236}">
                  <a16:creationId xmlns:a16="http://schemas.microsoft.com/office/drawing/2014/main" id="{C692051B-FA3D-40FE-90E6-D826DAF3CA0E}"/>
                </a:ext>
              </a:extLst>
            </p:cNvPr>
            <p:cNvSpPr/>
            <p:nvPr/>
          </p:nvSpPr>
          <p:spPr>
            <a:xfrm>
              <a:off x="9396891" y="5246624"/>
              <a:ext cx="1214347" cy="1214330"/>
            </a:xfrm>
            <a:custGeom>
              <a:avLst/>
              <a:gdLst>
                <a:gd name="connsiteX0" fmla="*/ 0 w 1214347"/>
                <a:gd name="connsiteY0" fmla="*/ 0 h 1214330"/>
                <a:gd name="connsiteX1" fmla="*/ 1214348 w 1214347"/>
                <a:gd name="connsiteY1" fmla="*/ 0 h 1214330"/>
                <a:gd name="connsiteX2" fmla="*/ 1214348 w 1214347"/>
                <a:gd name="connsiteY2" fmla="*/ 1214330 h 1214330"/>
                <a:gd name="connsiteX3" fmla="*/ 0 w 1214347"/>
                <a:gd name="connsiteY3" fmla="*/ 1214330 h 1214330"/>
              </a:gdLst>
              <a:ahLst/>
              <a:cxnLst>
                <a:cxn ang="0">
                  <a:pos x="connsiteX0" y="connsiteY0"/>
                </a:cxn>
                <a:cxn ang="0">
                  <a:pos x="connsiteX1" y="connsiteY1"/>
                </a:cxn>
                <a:cxn ang="0">
                  <a:pos x="connsiteX2" y="connsiteY2"/>
                </a:cxn>
                <a:cxn ang="0">
                  <a:pos x="connsiteX3" y="connsiteY3"/>
                </a:cxn>
              </a:cxnLst>
              <a:rect l="l" t="t" r="r" b="b"/>
              <a:pathLst>
                <a:path w="1214347" h="1214330">
                  <a:moveTo>
                    <a:pt x="0" y="0"/>
                  </a:moveTo>
                  <a:lnTo>
                    <a:pt x="1214348" y="0"/>
                  </a:lnTo>
                  <a:lnTo>
                    <a:pt x="1214348" y="1214330"/>
                  </a:lnTo>
                  <a:lnTo>
                    <a:pt x="0" y="1214330"/>
                  </a:lnTo>
                  <a:close/>
                </a:path>
              </a:pathLst>
            </a:custGeom>
            <a:solidFill>
              <a:srgbClr val="12A680"/>
            </a:solidFill>
            <a:ln w="6320" cap="flat">
              <a:noFill/>
              <a:prstDash val="solid"/>
              <a:miter/>
            </a:ln>
          </p:spPr>
          <p:txBody>
            <a:bodyPr rtlCol="0" anchor="ctr"/>
            <a:lstStyle/>
            <a:p>
              <a:endParaRPr lang="nb-NO"/>
            </a:p>
          </p:txBody>
        </p:sp>
        <p:sp>
          <p:nvSpPr>
            <p:cNvPr id="11" name="Freeform: Shape 10">
              <a:extLst>
                <a:ext uri="{FF2B5EF4-FFF2-40B4-BE49-F238E27FC236}">
                  <a16:creationId xmlns:a16="http://schemas.microsoft.com/office/drawing/2014/main" id="{67DF0D91-CA39-4795-A49A-70587AE55346}"/>
                </a:ext>
              </a:extLst>
            </p:cNvPr>
            <p:cNvSpPr/>
            <p:nvPr/>
          </p:nvSpPr>
          <p:spPr>
            <a:xfrm>
              <a:off x="10611239" y="389304"/>
              <a:ext cx="1214347" cy="1214330"/>
            </a:xfrm>
            <a:custGeom>
              <a:avLst/>
              <a:gdLst>
                <a:gd name="connsiteX0" fmla="*/ 0 w 1214347"/>
                <a:gd name="connsiteY0" fmla="*/ 0 h 1214330"/>
                <a:gd name="connsiteX1" fmla="*/ 1214348 w 1214347"/>
                <a:gd name="connsiteY1" fmla="*/ 0 h 1214330"/>
                <a:gd name="connsiteX2" fmla="*/ 1214348 w 1214347"/>
                <a:gd name="connsiteY2" fmla="*/ 1214330 h 1214330"/>
                <a:gd name="connsiteX3" fmla="*/ 0 w 1214347"/>
                <a:gd name="connsiteY3" fmla="*/ 1214330 h 1214330"/>
              </a:gdLst>
              <a:ahLst/>
              <a:cxnLst>
                <a:cxn ang="0">
                  <a:pos x="connsiteX0" y="connsiteY0"/>
                </a:cxn>
                <a:cxn ang="0">
                  <a:pos x="connsiteX1" y="connsiteY1"/>
                </a:cxn>
                <a:cxn ang="0">
                  <a:pos x="connsiteX2" y="connsiteY2"/>
                </a:cxn>
                <a:cxn ang="0">
                  <a:pos x="connsiteX3" y="connsiteY3"/>
                </a:cxn>
              </a:cxnLst>
              <a:rect l="l" t="t" r="r" b="b"/>
              <a:pathLst>
                <a:path w="1214347" h="1214330">
                  <a:moveTo>
                    <a:pt x="0" y="0"/>
                  </a:moveTo>
                  <a:lnTo>
                    <a:pt x="1214348" y="0"/>
                  </a:lnTo>
                  <a:lnTo>
                    <a:pt x="1214348" y="1214330"/>
                  </a:lnTo>
                  <a:lnTo>
                    <a:pt x="0" y="1214330"/>
                  </a:lnTo>
                  <a:close/>
                </a:path>
              </a:pathLst>
            </a:custGeom>
            <a:solidFill>
              <a:srgbClr val="005945"/>
            </a:solidFill>
            <a:ln w="6320" cap="flat">
              <a:noFill/>
              <a:prstDash val="solid"/>
              <a:miter/>
            </a:ln>
          </p:spPr>
          <p:txBody>
            <a:bodyPr rtlCol="0" anchor="ctr"/>
            <a:lstStyle/>
            <a:p>
              <a:endParaRPr lang="nb-NO"/>
            </a:p>
          </p:txBody>
        </p:sp>
      </p:grpSp>
      <p:sp>
        <p:nvSpPr>
          <p:cNvPr id="10" name="Subtitle 2">
            <a:extLst>
              <a:ext uri="{FF2B5EF4-FFF2-40B4-BE49-F238E27FC236}">
                <a16:creationId xmlns:a16="http://schemas.microsoft.com/office/drawing/2014/main" id="{FAB4F056-8D2E-43DE-9B1C-57045AB28601}"/>
              </a:ext>
            </a:extLst>
          </p:cNvPr>
          <p:cNvSpPr>
            <a:spLocks noGrp="1"/>
          </p:cNvSpPr>
          <p:nvPr>
            <p:ph type="subTitle" idx="1"/>
          </p:nvPr>
        </p:nvSpPr>
        <p:spPr>
          <a:xfrm>
            <a:off x="334963" y="5296513"/>
            <a:ext cx="3919744" cy="971662"/>
          </a:xfrm>
        </p:spPr>
        <p:txBody>
          <a:bodyPr lIns="36000" rIns="36000"/>
          <a:lstStyle>
            <a:lvl1pPr marL="0" indent="0" algn="l">
              <a:lnSpc>
                <a:spcPct val="100000"/>
              </a:lnSpc>
              <a:spcBef>
                <a:spcPts val="0"/>
              </a:spcBef>
              <a:buNone/>
              <a:defRPr sz="1500">
                <a:solidFill>
                  <a:schemeClr val="accent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
        <p:nvSpPr>
          <p:cNvPr id="6" name="Picture Placeholder 5">
            <a:extLst>
              <a:ext uri="{FF2B5EF4-FFF2-40B4-BE49-F238E27FC236}">
                <a16:creationId xmlns:a16="http://schemas.microsoft.com/office/drawing/2014/main" id="{93E69A02-BC16-4E66-BB7F-88712DA3A27E}"/>
              </a:ext>
            </a:extLst>
          </p:cNvPr>
          <p:cNvSpPr>
            <a:spLocks noGrp="1"/>
          </p:cNvSpPr>
          <p:nvPr>
            <p:ph type="pic" sz="quarter" idx="10"/>
          </p:nvPr>
        </p:nvSpPr>
        <p:spPr>
          <a:xfrm>
            <a:off x="6211109" y="743037"/>
            <a:ext cx="3658076" cy="5334617"/>
          </a:xfrm>
          <a:solidFill>
            <a:schemeClr val="bg1">
              <a:lumMod val="85000"/>
            </a:schemeClr>
          </a:solidFill>
        </p:spPr>
        <p:txBody>
          <a:bodyPr/>
          <a:lstStyle>
            <a:lvl1pPr marL="0" indent="0">
              <a:buNone/>
              <a:defRPr/>
            </a:lvl1pPr>
          </a:lstStyle>
          <a:p>
            <a:endParaRPr lang="en-US"/>
          </a:p>
        </p:txBody>
      </p:sp>
      <p:sp>
        <p:nvSpPr>
          <p:cNvPr id="8" name="Title 1">
            <a:extLst>
              <a:ext uri="{FF2B5EF4-FFF2-40B4-BE49-F238E27FC236}">
                <a16:creationId xmlns:a16="http://schemas.microsoft.com/office/drawing/2014/main" id="{FF3862DE-0E7D-6647-A684-932C654011C6}"/>
              </a:ext>
            </a:extLst>
          </p:cNvPr>
          <p:cNvSpPr>
            <a:spLocks noGrp="1"/>
          </p:cNvSpPr>
          <p:nvPr>
            <p:ph type="title"/>
          </p:nvPr>
        </p:nvSpPr>
        <p:spPr>
          <a:xfrm>
            <a:off x="334963" y="1803420"/>
            <a:ext cx="3924300" cy="2497230"/>
          </a:xfrm>
        </p:spPr>
        <p:txBody>
          <a:bodyPr anchor="t"/>
          <a:lstStyle>
            <a:lvl1pPr>
              <a:lnSpc>
                <a:spcPct val="100000"/>
              </a:lnSpc>
              <a:defRPr sz="4001">
                <a:solidFill>
                  <a:schemeClr val="tx2"/>
                </a:solidFill>
              </a:defRPr>
            </a:lvl1pPr>
          </a:lstStyle>
          <a:p>
            <a:endParaRPr lang="en-US"/>
          </a:p>
        </p:txBody>
      </p:sp>
    </p:spTree>
    <p:extLst>
      <p:ext uri="{BB962C8B-B14F-4D97-AF65-F5344CB8AC3E}">
        <p14:creationId xmlns:p14="http://schemas.microsoft.com/office/powerpoint/2010/main" val="168177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f side">
    <p:spTree>
      <p:nvGrpSpPr>
        <p:cNvPr id="1" name=""/>
        <p:cNvGrpSpPr/>
        <p:nvPr/>
      </p:nvGrpSpPr>
      <p:grpSpPr>
        <a:xfrm>
          <a:off x="0" y="0"/>
          <a:ext cx="0" cy="0"/>
          <a:chOff x="0" y="0"/>
          <a:chExt cx="0" cy="0"/>
        </a:xfrm>
      </p:grpSpPr>
      <p:sp>
        <p:nvSpPr>
          <p:cNvPr id="2" name="Title 1"/>
          <p:cNvSpPr>
            <a:spLocks noGrp="1"/>
          </p:cNvSpPr>
          <p:nvPr>
            <p:ph type="title"/>
          </p:nvPr>
        </p:nvSpPr>
        <p:spPr>
          <a:xfrm>
            <a:off x="334963" y="1916113"/>
            <a:ext cx="3708400" cy="1421191"/>
          </a:xfrm>
        </p:spPr>
        <p:txBody>
          <a:bodyPr anchor="t"/>
          <a:lstStyle>
            <a:lvl1pPr>
              <a:defRPr>
                <a:solidFill>
                  <a:schemeClr val="tx2"/>
                </a:solidFill>
              </a:defRPr>
            </a:lvl1pPr>
          </a:lstStyle>
          <a:p>
            <a:endParaRPr lang="en-US"/>
          </a:p>
        </p:txBody>
      </p:sp>
      <p:sp>
        <p:nvSpPr>
          <p:cNvPr id="12" name="Subtitle 2">
            <a:extLst>
              <a:ext uri="{FF2B5EF4-FFF2-40B4-BE49-F238E27FC236}">
                <a16:creationId xmlns:a16="http://schemas.microsoft.com/office/drawing/2014/main" id="{4B0B2E75-84F0-4E85-9B77-833285E056D5}"/>
              </a:ext>
            </a:extLst>
          </p:cNvPr>
          <p:cNvSpPr>
            <a:spLocks noGrp="1"/>
          </p:cNvSpPr>
          <p:nvPr>
            <p:ph type="subTitle" idx="13"/>
          </p:nvPr>
        </p:nvSpPr>
        <p:spPr>
          <a:xfrm>
            <a:off x="334963" y="1341438"/>
            <a:ext cx="3708400" cy="226800"/>
          </a:xfrm>
        </p:spPr>
        <p:txBody>
          <a:bodyPr lIns="36000" rIns="36000" anchor="b"/>
          <a:lstStyle>
            <a:lvl1pPr marL="0" indent="0" algn="l">
              <a:buNone/>
              <a:defRPr sz="1500">
                <a:solidFill>
                  <a:schemeClr val="accent1"/>
                </a:solidFill>
                <a:latin typeface="+mj-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
        <p:nvSpPr>
          <p:cNvPr id="17" name="Text Placeholder 12">
            <a:extLst>
              <a:ext uri="{FF2B5EF4-FFF2-40B4-BE49-F238E27FC236}">
                <a16:creationId xmlns:a16="http://schemas.microsoft.com/office/drawing/2014/main" id="{B50895A1-CF8F-4C61-A985-610DEC2E2E92}"/>
              </a:ext>
            </a:extLst>
          </p:cNvPr>
          <p:cNvSpPr>
            <a:spLocks noGrp="1"/>
          </p:cNvSpPr>
          <p:nvPr>
            <p:ph type="body" sz="quarter" idx="18"/>
          </p:nvPr>
        </p:nvSpPr>
        <p:spPr>
          <a:xfrm>
            <a:off x="334963" y="5297638"/>
            <a:ext cx="3708400" cy="1224566"/>
          </a:xfrm>
          <a:prstGeom prst="rect">
            <a:avLst/>
          </a:prstGeom>
        </p:spPr>
        <p:txBody>
          <a:bodyPr lIns="36000" tIns="0" rIns="36000" bIns="0"/>
          <a:lstStyle>
            <a:lvl1pPr marL="0" indent="0" algn="l">
              <a:lnSpc>
                <a:spcPct val="120000"/>
              </a:lnSpc>
              <a:spcBef>
                <a:spcPts val="900"/>
              </a:spcBef>
              <a:spcAft>
                <a:spcPts val="0"/>
              </a:spcAft>
              <a:buClrTx/>
              <a:buFont typeface="Arial" panose="020B0604020202020204" pitchFamily="34" charset="0"/>
              <a:buNone/>
              <a:defRPr sz="1200" b="0" i="0" u="none" cap="none">
                <a:solidFill>
                  <a:srgbClr val="000000"/>
                </a:solidFill>
                <a:latin typeface="+mn-lt"/>
              </a:defRPr>
            </a:lvl1pPr>
            <a:lvl2pPr marL="685834" indent="-228611" algn="l">
              <a:lnSpc>
                <a:spcPct val="120000"/>
              </a:lnSpc>
              <a:spcBef>
                <a:spcPts val="500"/>
              </a:spcBef>
              <a:spcAft>
                <a:spcPts val="0"/>
              </a:spcAft>
              <a:buClrTx/>
              <a:buFont typeface="Arial" panose="020B0604020202020204" pitchFamily="34" charset="0"/>
              <a:buChar char="•"/>
              <a:defRPr sz="1200" b="0" i="0" u="none" cap="none">
                <a:solidFill>
                  <a:srgbClr val="000000"/>
                </a:solidFill>
                <a:latin typeface="+mn-lt"/>
              </a:defRPr>
            </a:lvl2pPr>
            <a:lvl3pPr marL="1143057" indent="-228611" algn="l">
              <a:lnSpc>
                <a:spcPct val="120000"/>
              </a:lnSpc>
              <a:spcBef>
                <a:spcPts val="500"/>
              </a:spcBef>
              <a:spcAft>
                <a:spcPts val="0"/>
              </a:spcAft>
              <a:buClrTx/>
              <a:buFont typeface="Arial" panose="020B0604020202020204" pitchFamily="34" charset="0"/>
              <a:buChar char="•"/>
              <a:defRPr sz="1200" b="0" i="0" u="none" cap="none">
                <a:solidFill>
                  <a:srgbClr val="000000"/>
                </a:solidFill>
                <a:latin typeface="+mn-lt"/>
              </a:defRPr>
            </a:lvl3pPr>
            <a:lvl4pPr marL="1600280" indent="-228611" algn="l">
              <a:lnSpc>
                <a:spcPct val="120000"/>
              </a:lnSpc>
              <a:spcBef>
                <a:spcPts val="500"/>
              </a:spcBef>
              <a:spcAft>
                <a:spcPts val="0"/>
              </a:spcAft>
              <a:buClrTx/>
              <a:buFont typeface="Arial" panose="020B0604020202020204" pitchFamily="34" charset="0"/>
              <a:buChar char="•"/>
              <a:defRPr sz="1200" b="0" i="0" u="none" cap="none">
                <a:solidFill>
                  <a:srgbClr val="000000"/>
                </a:solidFill>
                <a:latin typeface="+mn-lt"/>
              </a:defRPr>
            </a:lvl4pPr>
            <a:lvl5pPr marL="2057503" indent="-228611" algn="l">
              <a:lnSpc>
                <a:spcPct val="120000"/>
              </a:lnSpc>
              <a:spcBef>
                <a:spcPts val="500"/>
              </a:spcBef>
              <a:spcAft>
                <a:spcPts val="0"/>
              </a:spcAft>
              <a:buClrTx/>
              <a:buFont typeface="Arial" panose="020B0604020202020204" pitchFamily="34" charset="0"/>
              <a:buChar char="•"/>
              <a:defRPr sz="1200" b="0" i="0" u="none" cap="none">
                <a:solidFill>
                  <a:srgbClr val="000000"/>
                </a:solidFill>
                <a:latin typeface="+mn-lt"/>
              </a:defRPr>
            </a:lvl5pPr>
          </a:lstStyle>
          <a:p>
            <a:pPr lvl="0"/>
            <a:endParaRPr lang="en-US"/>
          </a:p>
        </p:txBody>
      </p:sp>
      <p:sp>
        <p:nvSpPr>
          <p:cNvPr id="10" name="Content Placeholder 9">
            <a:extLst>
              <a:ext uri="{FF2B5EF4-FFF2-40B4-BE49-F238E27FC236}">
                <a16:creationId xmlns:a16="http://schemas.microsoft.com/office/drawing/2014/main" id="{C8020507-8BDC-495B-90BA-3E4B6D7A3183}"/>
              </a:ext>
            </a:extLst>
          </p:cNvPr>
          <p:cNvSpPr>
            <a:spLocks noGrp="1"/>
          </p:cNvSpPr>
          <p:nvPr>
            <p:ph sz="quarter" idx="20" hasCustomPrompt="1"/>
          </p:nvPr>
        </p:nvSpPr>
        <p:spPr>
          <a:xfrm>
            <a:off x="4683735" y="1341438"/>
            <a:ext cx="6426436" cy="5180766"/>
          </a:xfrm>
          <a:prstGeom prst="rect">
            <a:avLst/>
          </a:prstGeom>
        </p:spPr>
        <p:txBody>
          <a:bodyPr lIns="0" tIns="0" rIns="0" bIns="0"/>
          <a:lstStyle>
            <a:lvl1pPr marL="0" indent="0">
              <a:buNone/>
              <a:defRPr/>
            </a:lvl1pPr>
          </a:lstStyle>
          <a:p>
            <a:pPr lvl="0"/>
            <a:r>
              <a:rPr lang="nb-NO"/>
              <a:t>Graf</a:t>
            </a:r>
            <a:endParaRPr lang="en-US"/>
          </a:p>
        </p:txBody>
      </p:sp>
    </p:spTree>
    <p:extLst>
      <p:ext uri="{BB962C8B-B14F-4D97-AF65-F5344CB8AC3E}">
        <p14:creationId xmlns:p14="http://schemas.microsoft.com/office/powerpoint/2010/main" val="22318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f liggend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D8800F9-0EC2-4F3A-94A3-C59346FABB89}"/>
              </a:ext>
            </a:extLst>
          </p:cNvPr>
          <p:cNvSpPr>
            <a:spLocks noGrp="1"/>
          </p:cNvSpPr>
          <p:nvPr>
            <p:ph sz="quarter" idx="20" hasCustomPrompt="1"/>
          </p:nvPr>
        </p:nvSpPr>
        <p:spPr>
          <a:xfrm>
            <a:off x="334964" y="1916113"/>
            <a:ext cx="11522074" cy="4608512"/>
          </a:xfrm>
          <a:prstGeom prst="rect">
            <a:avLst/>
          </a:prstGeom>
        </p:spPr>
        <p:txBody>
          <a:bodyPr lIns="0" tIns="0" rIns="0" bIns="0"/>
          <a:lstStyle>
            <a:lvl1pPr marL="0" indent="0">
              <a:buNone/>
              <a:defRPr/>
            </a:lvl1pPr>
          </a:lstStyle>
          <a:p>
            <a:pPr lvl="0"/>
            <a:r>
              <a:rPr lang="nb-NO"/>
              <a:t>Graf</a:t>
            </a:r>
            <a:endParaRPr lang="en-US"/>
          </a:p>
        </p:txBody>
      </p:sp>
      <p:sp>
        <p:nvSpPr>
          <p:cNvPr id="5" name="Title 1">
            <a:extLst>
              <a:ext uri="{FF2B5EF4-FFF2-40B4-BE49-F238E27FC236}">
                <a16:creationId xmlns:a16="http://schemas.microsoft.com/office/drawing/2014/main" id="{35D7228F-D39A-45F9-A141-3017F0D637F0}"/>
              </a:ext>
            </a:extLst>
          </p:cNvPr>
          <p:cNvSpPr>
            <a:spLocks noGrp="1"/>
          </p:cNvSpPr>
          <p:nvPr>
            <p:ph type="title"/>
          </p:nvPr>
        </p:nvSpPr>
        <p:spPr>
          <a:xfrm>
            <a:off x="334963" y="769938"/>
            <a:ext cx="11522074" cy="571500"/>
          </a:xfrm>
        </p:spPr>
        <p:txBody>
          <a:bodyPr anchor="t"/>
          <a:lstStyle>
            <a:lvl1pPr>
              <a:defRPr sz="4001">
                <a:solidFill>
                  <a:schemeClr val="tx2"/>
                </a:solidFill>
              </a:defRPr>
            </a:lvl1pPr>
          </a:lstStyle>
          <a:p>
            <a:endParaRPr lang="en-US"/>
          </a:p>
        </p:txBody>
      </p:sp>
      <p:sp>
        <p:nvSpPr>
          <p:cNvPr id="9" name="Subtitle 2">
            <a:extLst>
              <a:ext uri="{FF2B5EF4-FFF2-40B4-BE49-F238E27FC236}">
                <a16:creationId xmlns:a16="http://schemas.microsoft.com/office/drawing/2014/main" id="{B387D2E1-2535-1848-9495-C138903AE596}"/>
              </a:ext>
            </a:extLst>
          </p:cNvPr>
          <p:cNvSpPr>
            <a:spLocks noGrp="1"/>
          </p:cNvSpPr>
          <p:nvPr>
            <p:ph type="subTitle" idx="1"/>
          </p:nvPr>
        </p:nvSpPr>
        <p:spPr>
          <a:xfrm>
            <a:off x="334962" y="333375"/>
            <a:ext cx="11522075" cy="226800"/>
          </a:xfrm>
        </p:spPr>
        <p:txBody>
          <a:bodyPr lIns="36000" rIns="36000" anchor="b" anchorCtr="0"/>
          <a:lstStyle>
            <a:lvl1pPr marL="0" indent="0" algn="l">
              <a:lnSpc>
                <a:spcPct val="100000"/>
              </a:lnSpc>
              <a:spcBef>
                <a:spcPts val="0"/>
              </a:spcBef>
              <a:buNone/>
              <a:defRPr sz="1500">
                <a:solidFill>
                  <a:schemeClr val="accent1"/>
                </a:solidFill>
                <a:latin typeface="+mj-l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Tree>
    <p:extLst>
      <p:ext uri="{BB962C8B-B14F-4D97-AF65-F5344CB8AC3E}">
        <p14:creationId xmlns:p14="http://schemas.microsoft.com/office/powerpoint/2010/main" val="245488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ell">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BD8800F9-0EC2-4F3A-94A3-C59346FABB89}"/>
              </a:ext>
            </a:extLst>
          </p:cNvPr>
          <p:cNvSpPr>
            <a:spLocks noGrp="1"/>
          </p:cNvSpPr>
          <p:nvPr>
            <p:ph sz="quarter" idx="20" hasCustomPrompt="1"/>
          </p:nvPr>
        </p:nvSpPr>
        <p:spPr>
          <a:xfrm>
            <a:off x="2323372" y="1916113"/>
            <a:ext cx="9533665" cy="4608512"/>
          </a:xfrm>
          <a:prstGeom prst="rect">
            <a:avLst/>
          </a:prstGeom>
        </p:spPr>
        <p:txBody>
          <a:bodyPr lIns="0" tIns="0" rIns="0" bIns="0"/>
          <a:lstStyle>
            <a:lvl1pPr marL="0" indent="0">
              <a:buNone/>
              <a:defRPr/>
            </a:lvl1pPr>
          </a:lstStyle>
          <a:p>
            <a:pPr lvl="0"/>
            <a:r>
              <a:rPr lang="nb-NO"/>
              <a:t>Tabell</a:t>
            </a:r>
            <a:endParaRPr lang="en-US"/>
          </a:p>
        </p:txBody>
      </p:sp>
      <p:sp>
        <p:nvSpPr>
          <p:cNvPr id="5" name="Title 1">
            <a:extLst>
              <a:ext uri="{FF2B5EF4-FFF2-40B4-BE49-F238E27FC236}">
                <a16:creationId xmlns:a16="http://schemas.microsoft.com/office/drawing/2014/main" id="{06E26A68-806D-F94E-A8A1-C10887F18E35}"/>
              </a:ext>
            </a:extLst>
          </p:cNvPr>
          <p:cNvSpPr>
            <a:spLocks noGrp="1"/>
          </p:cNvSpPr>
          <p:nvPr>
            <p:ph type="title"/>
          </p:nvPr>
        </p:nvSpPr>
        <p:spPr>
          <a:xfrm>
            <a:off x="334962" y="1916113"/>
            <a:ext cx="1798637" cy="259523"/>
          </a:xfrm>
        </p:spPr>
        <p:txBody>
          <a:bodyPr anchor="t"/>
          <a:lstStyle>
            <a:lvl1pPr>
              <a:defRPr sz="1400">
                <a:solidFill>
                  <a:schemeClr val="accent1"/>
                </a:solidFill>
                <a:latin typeface="+mn-lt"/>
              </a:defRPr>
            </a:lvl1pPr>
          </a:lstStyle>
          <a:p>
            <a:endParaRPr lang="en-US"/>
          </a:p>
        </p:txBody>
      </p:sp>
      <p:sp>
        <p:nvSpPr>
          <p:cNvPr id="6" name="Text Placeholder 9">
            <a:extLst>
              <a:ext uri="{FF2B5EF4-FFF2-40B4-BE49-F238E27FC236}">
                <a16:creationId xmlns:a16="http://schemas.microsoft.com/office/drawing/2014/main" id="{A15293E5-6601-684A-A2C6-D3F4630F1B71}"/>
              </a:ext>
            </a:extLst>
          </p:cNvPr>
          <p:cNvSpPr>
            <a:spLocks noGrp="1"/>
          </p:cNvSpPr>
          <p:nvPr>
            <p:ph type="body" sz="quarter" idx="21"/>
          </p:nvPr>
        </p:nvSpPr>
        <p:spPr>
          <a:xfrm>
            <a:off x="334963" y="2924176"/>
            <a:ext cx="1798637" cy="3025774"/>
          </a:xfrm>
          <a:prstGeom prst="rect">
            <a:avLst/>
          </a:prstGeom>
        </p:spPr>
        <p:txBody>
          <a:bodyPr lIns="0" tIns="0" rIns="0" bIns="0"/>
          <a:lstStyle>
            <a:lvl1pPr marL="0" indent="0" algn="l">
              <a:lnSpc>
                <a:spcPct val="120000"/>
              </a:lnSpc>
              <a:spcBef>
                <a:spcPts val="900"/>
              </a:spcBef>
              <a:spcAft>
                <a:spcPts val="0"/>
              </a:spcAft>
              <a:buClrTx/>
              <a:buFontTx/>
              <a:buNone/>
              <a:defRPr sz="1200" b="0" i="0" u="none" cap="none">
                <a:solidFill>
                  <a:schemeClr val="tx1"/>
                </a:solidFill>
                <a:latin typeface="+mn-lt"/>
              </a:defRPr>
            </a:lvl1pPr>
          </a:lstStyle>
          <a:p>
            <a:pPr lvl="0"/>
            <a:endParaRPr lang="en-US"/>
          </a:p>
        </p:txBody>
      </p:sp>
    </p:spTree>
    <p:extLst>
      <p:ext uri="{BB962C8B-B14F-4D97-AF65-F5344CB8AC3E}">
        <p14:creationId xmlns:p14="http://schemas.microsoft.com/office/powerpoint/2010/main" val="394629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e med kilde">
    <p:spTree>
      <p:nvGrpSpPr>
        <p:cNvPr id="1" name=""/>
        <p:cNvGrpSpPr/>
        <p:nvPr/>
      </p:nvGrpSpPr>
      <p:grpSpPr>
        <a:xfrm>
          <a:off x="0" y="0"/>
          <a:ext cx="0" cy="0"/>
          <a:chOff x="0" y="0"/>
          <a:chExt cx="0" cy="0"/>
        </a:xfrm>
      </p:grpSpPr>
      <p:sp>
        <p:nvSpPr>
          <p:cNvPr id="2" name="Title 1"/>
          <p:cNvSpPr>
            <a:spLocks noGrp="1"/>
          </p:cNvSpPr>
          <p:nvPr>
            <p:ph type="title"/>
          </p:nvPr>
        </p:nvSpPr>
        <p:spPr>
          <a:xfrm>
            <a:off x="334962" y="333375"/>
            <a:ext cx="1798637" cy="259523"/>
          </a:xfrm>
        </p:spPr>
        <p:txBody>
          <a:bodyPr anchor="t"/>
          <a:lstStyle>
            <a:lvl1pPr>
              <a:defRPr sz="1400">
                <a:solidFill>
                  <a:schemeClr val="accent1"/>
                </a:solidFill>
                <a:latin typeface="+mn-lt"/>
              </a:defRPr>
            </a:lvl1pPr>
          </a:lstStyle>
          <a:p>
            <a:endParaRPr lang="en-US"/>
          </a:p>
        </p:txBody>
      </p:sp>
      <p:sp>
        <p:nvSpPr>
          <p:cNvPr id="10" name="Text Placeholder 9">
            <a:extLst>
              <a:ext uri="{FF2B5EF4-FFF2-40B4-BE49-F238E27FC236}">
                <a16:creationId xmlns:a16="http://schemas.microsoft.com/office/drawing/2014/main" id="{256CA2A9-C30D-42EE-AD5E-6E9D48B86DFB}"/>
              </a:ext>
            </a:extLst>
          </p:cNvPr>
          <p:cNvSpPr>
            <a:spLocks noGrp="1"/>
          </p:cNvSpPr>
          <p:nvPr>
            <p:ph type="body" sz="quarter" idx="21"/>
          </p:nvPr>
        </p:nvSpPr>
        <p:spPr>
          <a:xfrm>
            <a:off x="334963" y="1341437"/>
            <a:ext cx="1798637" cy="5183187"/>
          </a:xfrm>
          <a:prstGeom prst="rect">
            <a:avLst/>
          </a:prstGeom>
        </p:spPr>
        <p:txBody>
          <a:bodyPr lIns="0" tIns="0" rIns="0" bIns="0"/>
          <a:lstStyle>
            <a:lvl1pPr marL="0" indent="0" algn="l">
              <a:lnSpc>
                <a:spcPct val="120000"/>
              </a:lnSpc>
              <a:spcBef>
                <a:spcPts val="900"/>
              </a:spcBef>
              <a:spcAft>
                <a:spcPts val="0"/>
              </a:spcAft>
              <a:buClrTx/>
              <a:buFontTx/>
              <a:buNone/>
              <a:defRPr sz="1200" b="0" i="0" u="none" cap="none">
                <a:solidFill>
                  <a:schemeClr val="tx1"/>
                </a:solidFill>
                <a:latin typeface="+mn-lt"/>
              </a:defRPr>
            </a:lvl1pPr>
          </a:lstStyle>
          <a:p>
            <a:pPr lvl="0"/>
            <a:endParaRPr lang="en-US"/>
          </a:p>
        </p:txBody>
      </p:sp>
      <p:sp>
        <p:nvSpPr>
          <p:cNvPr id="13" name="Picture Placeholder 12">
            <a:extLst>
              <a:ext uri="{FF2B5EF4-FFF2-40B4-BE49-F238E27FC236}">
                <a16:creationId xmlns:a16="http://schemas.microsoft.com/office/drawing/2014/main" id="{4E1ADC21-6A28-4E9D-8769-1CAAD8FFB157}"/>
              </a:ext>
            </a:extLst>
          </p:cNvPr>
          <p:cNvSpPr>
            <a:spLocks noGrp="1"/>
          </p:cNvSpPr>
          <p:nvPr>
            <p:ph type="pic" sz="quarter" idx="22"/>
          </p:nvPr>
        </p:nvSpPr>
        <p:spPr>
          <a:xfrm>
            <a:off x="2340077" y="333376"/>
            <a:ext cx="9516960" cy="6191250"/>
          </a:xfrm>
          <a:prstGeom prst="rect">
            <a:avLst/>
          </a:prstGeom>
          <a:solidFill>
            <a:schemeClr val="bg1">
              <a:lumMod val="85000"/>
            </a:schemeClr>
          </a:solidFill>
        </p:spPr>
        <p:txBody>
          <a:bodyPr lIns="0" tIns="0" rIns="0" bIns="0"/>
          <a:lstStyle/>
          <a:p>
            <a:endParaRPr lang="en-US"/>
          </a:p>
        </p:txBody>
      </p:sp>
    </p:spTree>
    <p:extLst>
      <p:ext uri="{BB962C8B-B14F-4D97-AF65-F5344CB8AC3E}">
        <p14:creationId xmlns:p14="http://schemas.microsoft.com/office/powerpoint/2010/main" val="584094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itat">
    <p:bg>
      <p:bgPr>
        <a:solidFill>
          <a:schemeClr val="l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23373" y="1341439"/>
            <a:ext cx="8119446" cy="3527688"/>
          </a:xfrm>
        </p:spPr>
        <p:txBody>
          <a:bodyPr anchor="t"/>
          <a:lstStyle>
            <a:lvl1pPr>
              <a:defRPr>
                <a:solidFill>
                  <a:schemeClr val="tx2"/>
                </a:solidFill>
              </a:defRPr>
            </a:lvl1pPr>
          </a:lstStyle>
          <a:p>
            <a:endParaRPr lang="en-US"/>
          </a:p>
        </p:txBody>
      </p:sp>
      <p:sp>
        <p:nvSpPr>
          <p:cNvPr id="12" name="Subtitle 2">
            <a:extLst>
              <a:ext uri="{FF2B5EF4-FFF2-40B4-BE49-F238E27FC236}">
                <a16:creationId xmlns:a16="http://schemas.microsoft.com/office/drawing/2014/main" id="{4B0B2E75-84F0-4E85-9B77-833285E056D5}"/>
              </a:ext>
            </a:extLst>
          </p:cNvPr>
          <p:cNvSpPr>
            <a:spLocks noGrp="1"/>
          </p:cNvSpPr>
          <p:nvPr>
            <p:ph type="subTitle" idx="13"/>
          </p:nvPr>
        </p:nvSpPr>
        <p:spPr>
          <a:xfrm>
            <a:off x="2323373" y="5165385"/>
            <a:ext cx="8119446" cy="320397"/>
          </a:xfrm>
        </p:spPr>
        <p:txBody>
          <a:bodyPr lIns="36000" rIns="36000" anchor="t" anchorCtr="0"/>
          <a:lstStyle>
            <a:lvl1pPr marL="0" indent="0" algn="l">
              <a:buNone/>
              <a:defRPr sz="1700" i="1">
                <a:solidFill>
                  <a:schemeClr val="accent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
        <p:nvSpPr>
          <p:cNvPr id="5" name="Freeform: Shape 4">
            <a:extLst>
              <a:ext uri="{FF2B5EF4-FFF2-40B4-BE49-F238E27FC236}">
                <a16:creationId xmlns:a16="http://schemas.microsoft.com/office/drawing/2014/main" id="{F5E3F770-E0F6-465C-BBC1-78B361B9B8C4}"/>
              </a:ext>
            </a:extLst>
          </p:cNvPr>
          <p:cNvSpPr/>
          <p:nvPr userDrawn="1"/>
        </p:nvSpPr>
        <p:spPr>
          <a:xfrm rot="-2700000">
            <a:off x="1463463" y="1354378"/>
            <a:ext cx="479593" cy="479592"/>
          </a:xfrm>
          <a:custGeom>
            <a:avLst/>
            <a:gdLst>
              <a:gd name="connsiteX0" fmla="*/ 460352 w 479593"/>
              <a:gd name="connsiteY0" fmla="*/ 19241 h 479592"/>
              <a:gd name="connsiteX1" fmla="*/ 479593 w 479593"/>
              <a:gd name="connsiteY1" fmla="*/ 65693 h 479592"/>
              <a:gd name="connsiteX2" fmla="*/ 479592 w 479593"/>
              <a:gd name="connsiteY2" fmla="*/ 65693 h 479592"/>
              <a:gd name="connsiteX3" fmla="*/ 413899 w 479593"/>
              <a:gd name="connsiteY3" fmla="*/ 131386 h 479592"/>
              <a:gd name="connsiteX4" fmla="*/ 131385 w 479593"/>
              <a:gd name="connsiteY4" fmla="*/ 131385 h 479592"/>
              <a:gd name="connsiteX5" fmla="*/ 131386 w 479593"/>
              <a:gd name="connsiteY5" fmla="*/ 413898 h 479592"/>
              <a:gd name="connsiteX6" fmla="*/ 65693 w 479593"/>
              <a:gd name="connsiteY6" fmla="*/ 479591 h 479592"/>
              <a:gd name="connsiteX7" fmla="*/ 65693 w 479593"/>
              <a:gd name="connsiteY7" fmla="*/ 479592 h 479592"/>
              <a:gd name="connsiteX8" fmla="*/ 0 w 479593"/>
              <a:gd name="connsiteY8" fmla="*/ 413899 h 479592"/>
              <a:gd name="connsiteX9" fmla="*/ 0 w 479593"/>
              <a:gd name="connsiteY9" fmla="*/ 69013 h 479592"/>
              <a:gd name="connsiteX10" fmla="*/ 19241 w 479593"/>
              <a:gd name="connsiteY10" fmla="*/ 22561 h 479592"/>
              <a:gd name="connsiteX11" fmla="*/ 21226 w 479593"/>
              <a:gd name="connsiteY11" fmla="*/ 21222 h 479592"/>
              <a:gd name="connsiteX12" fmla="*/ 22562 w 479593"/>
              <a:gd name="connsiteY12" fmla="*/ 19241 h 479592"/>
              <a:gd name="connsiteX13" fmla="*/ 69014 w 479593"/>
              <a:gd name="connsiteY13" fmla="*/ 0 h 479592"/>
              <a:gd name="connsiteX14" fmla="*/ 413900 w 479593"/>
              <a:gd name="connsiteY14" fmla="*/ 0 h 479592"/>
              <a:gd name="connsiteX15" fmla="*/ 460352 w 479593"/>
              <a:gd name="connsiteY15" fmla="*/ 19241 h 47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593" h="479592">
                <a:moveTo>
                  <a:pt x="460352" y="19241"/>
                </a:moveTo>
                <a:cubicBezTo>
                  <a:pt x="472240" y="31129"/>
                  <a:pt x="479593" y="47553"/>
                  <a:pt x="479593" y="65693"/>
                </a:cubicBezTo>
                <a:lnTo>
                  <a:pt x="479592" y="65693"/>
                </a:lnTo>
                <a:cubicBezTo>
                  <a:pt x="479592" y="101974"/>
                  <a:pt x="450180" y="131386"/>
                  <a:pt x="413899" y="131386"/>
                </a:cubicBezTo>
                <a:lnTo>
                  <a:pt x="131385" y="131385"/>
                </a:lnTo>
                <a:lnTo>
                  <a:pt x="131386" y="413898"/>
                </a:lnTo>
                <a:cubicBezTo>
                  <a:pt x="131386" y="450179"/>
                  <a:pt x="101974" y="479591"/>
                  <a:pt x="65693" y="479591"/>
                </a:cubicBezTo>
                <a:lnTo>
                  <a:pt x="65693" y="479592"/>
                </a:lnTo>
                <a:cubicBezTo>
                  <a:pt x="29412" y="479592"/>
                  <a:pt x="0" y="450180"/>
                  <a:pt x="0" y="413899"/>
                </a:cubicBezTo>
                <a:lnTo>
                  <a:pt x="0" y="69013"/>
                </a:lnTo>
                <a:cubicBezTo>
                  <a:pt x="0" y="50872"/>
                  <a:pt x="7353" y="34449"/>
                  <a:pt x="19241" y="22561"/>
                </a:cubicBezTo>
                <a:lnTo>
                  <a:pt x="21226" y="21222"/>
                </a:lnTo>
                <a:lnTo>
                  <a:pt x="22562" y="19241"/>
                </a:lnTo>
                <a:cubicBezTo>
                  <a:pt x="34450" y="7353"/>
                  <a:pt x="50873" y="0"/>
                  <a:pt x="69014" y="0"/>
                </a:cubicBezTo>
                <a:lnTo>
                  <a:pt x="413900" y="0"/>
                </a:lnTo>
                <a:cubicBezTo>
                  <a:pt x="432041" y="0"/>
                  <a:pt x="448464" y="7353"/>
                  <a:pt x="460352" y="19241"/>
                </a:cubicBezTo>
                <a:close/>
              </a:path>
            </a:pathLst>
          </a:cu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nb-NO" sz="4000"/>
          </a:p>
        </p:txBody>
      </p:sp>
      <p:sp>
        <p:nvSpPr>
          <p:cNvPr id="6" name="Freeform: Shape 5">
            <a:extLst>
              <a:ext uri="{FF2B5EF4-FFF2-40B4-BE49-F238E27FC236}">
                <a16:creationId xmlns:a16="http://schemas.microsoft.com/office/drawing/2014/main" id="{2ECF2BD6-E23B-472A-BBF1-E20A3BB2DB49}"/>
              </a:ext>
            </a:extLst>
          </p:cNvPr>
          <p:cNvSpPr/>
          <p:nvPr userDrawn="1"/>
        </p:nvSpPr>
        <p:spPr>
          <a:xfrm rot="-2700000">
            <a:off x="1744452" y="1354378"/>
            <a:ext cx="479593" cy="479592"/>
          </a:xfrm>
          <a:custGeom>
            <a:avLst/>
            <a:gdLst>
              <a:gd name="connsiteX0" fmla="*/ 460352 w 479593"/>
              <a:gd name="connsiteY0" fmla="*/ 19241 h 479592"/>
              <a:gd name="connsiteX1" fmla="*/ 479593 w 479593"/>
              <a:gd name="connsiteY1" fmla="*/ 65693 h 479592"/>
              <a:gd name="connsiteX2" fmla="*/ 479592 w 479593"/>
              <a:gd name="connsiteY2" fmla="*/ 65693 h 479592"/>
              <a:gd name="connsiteX3" fmla="*/ 413899 w 479593"/>
              <a:gd name="connsiteY3" fmla="*/ 131386 h 479592"/>
              <a:gd name="connsiteX4" fmla="*/ 131385 w 479593"/>
              <a:gd name="connsiteY4" fmla="*/ 131385 h 479592"/>
              <a:gd name="connsiteX5" fmla="*/ 131386 w 479593"/>
              <a:gd name="connsiteY5" fmla="*/ 413898 h 479592"/>
              <a:gd name="connsiteX6" fmla="*/ 65693 w 479593"/>
              <a:gd name="connsiteY6" fmla="*/ 479591 h 479592"/>
              <a:gd name="connsiteX7" fmla="*/ 65693 w 479593"/>
              <a:gd name="connsiteY7" fmla="*/ 479592 h 479592"/>
              <a:gd name="connsiteX8" fmla="*/ 0 w 479593"/>
              <a:gd name="connsiteY8" fmla="*/ 413899 h 479592"/>
              <a:gd name="connsiteX9" fmla="*/ 0 w 479593"/>
              <a:gd name="connsiteY9" fmla="*/ 69013 h 479592"/>
              <a:gd name="connsiteX10" fmla="*/ 19241 w 479593"/>
              <a:gd name="connsiteY10" fmla="*/ 22561 h 479592"/>
              <a:gd name="connsiteX11" fmla="*/ 21226 w 479593"/>
              <a:gd name="connsiteY11" fmla="*/ 21222 h 479592"/>
              <a:gd name="connsiteX12" fmla="*/ 22562 w 479593"/>
              <a:gd name="connsiteY12" fmla="*/ 19241 h 479592"/>
              <a:gd name="connsiteX13" fmla="*/ 69014 w 479593"/>
              <a:gd name="connsiteY13" fmla="*/ 0 h 479592"/>
              <a:gd name="connsiteX14" fmla="*/ 413900 w 479593"/>
              <a:gd name="connsiteY14" fmla="*/ 0 h 479592"/>
              <a:gd name="connsiteX15" fmla="*/ 460352 w 479593"/>
              <a:gd name="connsiteY15" fmla="*/ 19241 h 47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593" h="479592">
                <a:moveTo>
                  <a:pt x="460352" y="19241"/>
                </a:moveTo>
                <a:cubicBezTo>
                  <a:pt x="472240" y="31129"/>
                  <a:pt x="479593" y="47553"/>
                  <a:pt x="479593" y="65693"/>
                </a:cubicBezTo>
                <a:lnTo>
                  <a:pt x="479592" y="65693"/>
                </a:lnTo>
                <a:cubicBezTo>
                  <a:pt x="479592" y="101974"/>
                  <a:pt x="450180" y="131386"/>
                  <a:pt x="413899" y="131386"/>
                </a:cubicBezTo>
                <a:lnTo>
                  <a:pt x="131385" y="131385"/>
                </a:lnTo>
                <a:lnTo>
                  <a:pt x="131386" y="413898"/>
                </a:lnTo>
                <a:cubicBezTo>
                  <a:pt x="131386" y="450179"/>
                  <a:pt x="101974" y="479591"/>
                  <a:pt x="65693" y="479591"/>
                </a:cubicBezTo>
                <a:lnTo>
                  <a:pt x="65693" y="479592"/>
                </a:lnTo>
                <a:cubicBezTo>
                  <a:pt x="29412" y="479592"/>
                  <a:pt x="0" y="450180"/>
                  <a:pt x="0" y="413899"/>
                </a:cubicBezTo>
                <a:lnTo>
                  <a:pt x="0" y="69013"/>
                </a:lnTo>
                <a:cubicBezTo>
                  <a:pt x="0" y="50872"/>
                  <a:pt x="7353" y="34449"/>
                  <a:pt x="19241" y="22561"/>
                </a:cubicBezTo>
                <a:lnTo>
                  <a:pt x="21226" y="21222"/>
                </a:lnTo>
                <a:lnTo>
                  <a:pt x="22562" y="19241"/>
                </a:lnTo>
                <a:cubicBezTo>
                  <a:pt x="34450" y="7353"/>
                  <a:pt x="50873" y="0"/>
                  <a:pt x="69014" y="0"/>
                </a:cubicBezTo>
                <a:lnTo>
                  <a:pt x="413900" y="0"/>
                </a:lnTo>
                <a:cubicBezTo>
                  <a:pt x="432041" y="0"/>
                  <a:pt x="448464" y="7353"/>
                  <a:pt x="460352" y="19241"/>
                </a:cubicBezTo>
                <a:close/>
              </a:path>
            </a:pathLst>
          </a:custGeom>
          <a:solidFill>
            <a:srgbClr val="02A67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nb-NO" sz="4000"/>
          </a:p>
        </p:txBody>
      </p:sp>
    </p:spTree>
    <p:extLst>
      <p:ext uri="{BB962C8B-B14F-4D97-AF65-F5344CB8AC3E}">
        <p14:creationId xmlns:p14="http://schemas.microsoft.com/office/powerpoint/2010/main" val="2848394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med tittel">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551ED50-D245-9445-A906-0BE077219E30}"/>
              </a:ext>
            </a:extLst>
          </p:cNvPr>
          <p:cNvSpPr>
            <a:spLocks noGrp="1"/>
          </p:cNvSpPr>
          <p:nvPr>
            <p:ph type="title"/>
          </p:nvPr>
        </p:nvSpPr>
        <p:spPr>
          <a:xfrm>
            <a:off x="334962" y="769937"/>
            <a:ext cx="11522075" cy="1146175"/>
          </a:xfrm>
        </p:spPr>
        <p:txBody>
          <a:bodyPr anchor="t"/>
          <a:lstStyle>
            <a:lvl1pPr>
              <a:defRPr sz="4001">
                <a:solidFill>
                  <a:schemeClr val="tx2"/>
                </a:solidFill>
              </a:defRPr>
            </a:lvl1pPr>
          </a:lstStyle>
          <a:p>
            <a:endParaRPr lang="en-US"/>
          </a:p>
        </p:txBody>
      </p:sp>
      <p:sp>
        <p:nvSpPr>
          <p:cNvPr id="9" name="Subtitle 2">
            <a:extLst>
              <a:ext uri="{FF2B5EF4-FFF2-40B4-BE49-F238E27FC236}">
                <a16:creationId xmlns:a16="http://schemas.microsoft.com/office/drawing/2014/main" id="{4875F094-D9ED-F543-933A-DC6763B55A01}"/>
              </a:ext>
            </a:extLst>
          </p:cNvPr>
          <p:cNvSpPr>
            <a:spLocks noGrp="1"/>
          </p:cNvSpPr>
          <p:nvPr>
            <p:ph type="subTitle" idx="13"/>
          </p:nvPr>
        </p:nvSpPr>
        <p:spPr>
          <a:xfrm>
            <a:off x="334961" y="333375"/>
            <a:ext cx="11523600" cy="226800"/>
          </a:xfrm>
        </p:spPr>
        <p:txBody>
          <a:bodyPr lIns="36000" rIns="36000" anchor="b" anchorCtr="0"/>
          <a:lstStyle>
            <a:lvl1pPr marL="0" indent="0" algn="l">
              <a:lnSpc>
                <a:spcPct val="100000"/>
              </a:lnSpc>
              <a:spcBef>
                <a:spcPts val="0"/>
              </a:spcBef>
              <a:buNone/>
              <a:defRPr sz="1500">
                <a:solidFill>
                  <a:schemeClr val="accent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endParaRPr lang="en-US"/>
          </a:p>
        </p:txBody>
      </p:sp>
    </p:spTree>
    <p:extLst>
      <p:ext uri="{BB962C8B-B14F-4D97-AF65-F5344CB8AC3E}">
        <p14:creationId xmlns:p14="http://schemas.microsoft.com/office/powerpoint/2010/main" val="48245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iktig budskap 2">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A1E81DA-46FA-4B2D-8AF9-530E2FC2C572}"/>
              </a:ext>
            </a:extLst>
          </p:cNvPr>
          <p:cNvSpPr>
            <a:spLocks noGrp="1"/>
          </p:cNvSpPr>
          <p:nvPr>
            <p:ph type="title"/>
          </p:nvPr>
        </p:nvSpPr>
        <p:spPr>
          <a:xfrm>
            <a:off x="168000" y="362101"/>
            <a:ext cx="5378297" cy="1325563"/>
          </a:xfrm>
        </p:spPr>
        <p:txBody>
          <a:bodyPr>
            <a:normAutofit/>
          </a:bodyPr>
          <a:lstStyle>
            <a:lvl1pPr>
              <a:defRPr sz="3200"/>
            </a:lvl1pPr>
          </a:lstStyle>
          <a:p>
            <a:r>
              <a:rPr lang="nb-NO"/>
              <a:t>Klikk for å redigere tittelstil</a:t>
            </a:r>
            <a:endParaRPr lang="nb-NO" dirty="0"/>
          </a:p>
        </p:txBody>
      </p:sp>
      <p:sp>
        <p:nvSpPr>
          <p:cNvPr id="3" name="Plassholder for innhold 2">
            <a:extLst>
              <a:ext uri="{FF2B5EF4-FFF2-40B4-BE49-F238E27FC236}">
                <a16:creationId xmlns:a16="http://schemas.microsoft.com/office/drawing/2014/main" id="{41C9E0D7-564E-4B6F-B988-4671826B4DCA}"/>
              </a:ext>
            </a:extLst>
          </p:cNvPr>
          <p:cNvSpPr>
            <a:spLocks noGrp="1"/>
          </p:cNvSpPr>
          <p:nvPr>
            <p:ph idx="1"/>
          </p:nvPr>
        </p:nvSpPr>
        <p:spPr>
          <a:xfrm>
            <a:off x="168001" y="1960561"/>
            <a:ext cx="5241852" cy="361760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Rectangle 75">
            <a:extLst>
              <a:ext uri="{FF2B5EF4-FFF2-40B4-BE49-F238E27FC236}">
                <a16:creationId xmlns:a16="http://schemas.microsoft.com/office/drawing/2014/main" id="{D51175D3-9D66-4F74-A28D-A84B913B1738}"/>
              </a:ext>
            </a:extLst>
          </p:cNvPr>
          <p:cNvSpPr/>
          <p:nvPr userDrawn="1"/>
        </p:nvSpPr>
        <p:spPr>
          <a:xfrm>
            <a:off x="0" y="1414767"/>
            <a:ext cx="5702833" cy="4741484"/>
          </a:xfrm>
          <a:prstGeom prst="rect">
            <a:avLst/>
          </a:prstGeom>
          <a:solidFill>
            <a:schemeClr val="bg1">
              <a:lumMod val="8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latin typeface="Microsoft JhengHei UI Light" panose="020B0304030504040204" pitchFamily="34" charset="-120"/>
              <a:ea typeface="Microsoft JhengHei UI Light" panose="020B0304030504040204" pitchFamily="34" charset="-120"/>
            </a:endParaRPr>
          </a:p>
        </p:txBody>
      </p:sp>
      <p:sp>
        <p:nvSpPr>
          <p:cNvPr id="5" name="Plassholder for bilde 2">
            <a:extLst>
              <a:ext uri="{FF2B5EF4-FFF2-40B4-BE49-F238E27FC236}">
                <a16:creationId xmlns:a16="http://schemas.microsoft.com/office/drawing/2014/main" id="{2C0F122E-913F-44DB-AD79-0E21281D98AC}"/>
              </a:ext>
            </a:extLst>
          </p:cNvPr>
          <p:cNvSpPr>
            <a:spLocks noGrp="1"/>
          </p:cNvSpPr>
          <p:nvPr>
            <p:ph type="pic" idx="10"/>
          </p:nvPr>
        </p:nvSpPr>
        <p:spPr>
          <a:xfrm>
            <a:off x="5957429" y="362102"/>
            <a:ext cx="5979151" cy="579414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ikonet for å legge til et bilde</a:t>
            </a:r>
            <a:endParaRPr lang="nb-NO" dirty="0"/>
          </a:p>
        </p:txBody>
      </p:sp>
    </p:spTree>
    <p:extLst>
      <p:ext uri="{BB962C8B-B14F-4D97-AF65-F5344CB8AC3E}">
        <p14:creationId xmlns:p14="http://schemas.microsoft.com/office/powerpoint/2010/main" val="3723823803"/>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299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Masse tekst/innhold">
    <p:spTree>
      <p:nvGrpSpPr>
        <p:cNvPr id="1" name=""/>
        <p:cNvGrpSpPr/>
        <p:nvPr/>
      </p:nvGrpSpPr>
      <p:grpSpPr>
        <a:xfrm>
          <a:off x="0" y="0"/>
          <a:ext cx="0" cy="0"/>
          <a:chOff x="0" y="0"/>
          <a:chExt cx="0" cy="0"/>
        </a:xfrm>
      </p:grpSpPr>
      <p:sp>
        <p:nvSpPr>
          <p:cNvPr id="4" name="Rectangle 18">
            <a:extLst>
              <a:ext uri="{FF2B5EF4-FFF2-40B4-BE49-F238E27FC236}">
                <a16:creationId xmlns:a16="http://schemas.microsoft.com/office/drawing/2014/main" id="{C5C774A7-65C2-4D47-96F2-6B064477D392}"/>
              </a:ext>
            </a:extLst>
          </p:cNvPr>
          <p:cNvSpPr/>
          <p:nvPr userDrawn="1"/>
        </p:nvSpPr>
        <p:spPr>
          <a:xfrm>
            <a:off x="620753" y="1475678"/>
            <a:ext cx="11151215" cy="4014436"/>
          </a:xfrm>
          <a:prstGeom prst="rect">
            <a:avLst/>
          </a:prstGeom>
          <a:solidFill>
            <a:srgbClr val="FFF6E3">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icrosoft JhengHei UI Light" panose="020B0304030504040204" pitchFamily="34" charset="-120"/>
              <a:ea typeface="Microsoft JhengHei UI Light" panose="020B0304030504040204" pitchFamily="34" charset="-120"/>
            </a:endParaRPr>
          </a:p>
        </p:txBody>
      </p:sp>
      <p:sp>
        <p:nvSpPr>
          <p:cNvPr id="2" name="Tittel 1">
            <a:extLst>
              <a:ext uri="{FF2B5EF4-FFF2-40B4-BE49-F238E27FC236}">
                <a16:creationId xmlns:a16="http://schemas.microsoft.com/office/drawing/2014/main" id="{BA1E81DA-46FA-4B2D-8AF9-530E2FC2C572}"/>
              </a:ext>
            </a:extLst>
          </p:cNvPr>
          <p:cNvSpPr>
            <a:spLocks noGrp="1"/>
          </p:cNvSpPr>
          <p:nvPr>
            <p:ph type="title"/>
          </p:nvPr>
        </p:nvSpPr>
        <p:spPr/>
        <p:txBody>
          <a:bodyPr>
            <a:normAutofit/>
          </a:bodyPr>
          <a:lstStyle>
            <a:lvl1pPr>
              <a:defRPr sz="3200"/>
            </a:lvl1pPr>
          </a:lstStyle>
          <a:p>
            <a:r>
              <a:rPr lang="nb-NO"/>
              <a:t>Klikk for å redigere tittelstil</a:t>
            </a:r>
            <a:endParaRPr lang="nb-NO" dirty="0"/>
          </a:p>
        </p:txBody>
      </p:sp>
      <p:sp>
        <p:nvSpPr>
          <p:cNvPr id="3" name="Plassholder for innhold 2">
            <a:extLst>
              <a:ext uri="{FF2B5EF4-FFF2-40B4-BE49-F238E27FC236}">
                <a16:creationId xmlns:a16="http://schemas.microsoft.com/office/drawing/2014/main" id="{41C9E0D7-564E-4B6F-B988-4671826B4DCA}"/>
              </a:ext>
            </a:extLst>
          </p:cNvPr>
          <p:cNvSpPr>
            <a:spLocks noGrp="1"/>
          </p:cNvSpPr>
          <p:nvPr>
            <p:ph idx="1"/>
          </p:nvPr>
        </p:nvSpPr>
        <p:spPr>
          <a:xfrm>
            <a:off x="3179135" y="1825625"/>
            <a:ext cx="8174665" cy="34055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pic>
        <p:nvPicPr>
          <p:cNvPr id="5" name="Graphic 29" descr="Skriveplate avkrysset kontur">
            <a:extLst>
              <a:ext uri="{FF2B5EF4-FFF2-40B4-BE49-F238E27FC236}">
                <a16:creationId xmlns:a16="http://schemas.microsoft.com/office/drawing/2014/main" id="{52A8C65F-6FEA-4939-A43F-7A7F2948D6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2873" y="2152184"/>
            <a:ext cx="2680009" cy="2661423"/>
          </a:xfrm>
          <a:prstGeom prst="rect">
            <a:avLst/>
          </a:prstGeom>
        </p:spPr>
      </p:pic>
    </p:spTree>
    <p:extLst>
      <p:ext uri="{BB962C8B-B14F-4D97-AF65-F5344CB8AC3E}">
        <p14:creationId xmlns:p14="http://schemas.microsoft.com/office/powerpoint/2010/main" val="490401220"/>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6" name="Rectangle 18">
            <a:extLst>
              <a:ext uri="{FF2B5EF4-FFF2-40B4-BE49-F238E27FC236}">
                <a16:creationId xmlns:a16="http://schemas.microsoft.com/office/drawing/2014/main" id="{18C28A5A-8D91-4A25-90BD-69CA57C2E85E}"/>
              </a:ext>
            </a:extLst>
          </p:cNvPr>
          <p:cNvSpPr/>
          <p:nvPr userDrawn="1"/>
        </p:nvSpPr>
        <p:spPr>
          <a:xfrm>
            <a:off x="6172201" y="1688768"/>
            <a:ext cx="5362354" cy="4488195"/>
          </a:xfrm>
          <a:prstGeom prst="rect">
            <a:avLst/>
          </a:prstGeom>
          <a:solidFill>
            <a:srgbClr val="FFF6E3">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icrosoft JhengHei UI Light" panose="020B0304030504040204" pitchFamily="34" charset="-120"/>
              <a:ea typeface="Microsoft JhengHei UI Light" panose="020B0304030504040204" pitchFamily="34" charset="-120"/>
            </a:endParaRPr>
          </a:p>
        </p:txBody>
      </p:sp>
      <p:sp>
        <p:nvSpPr>
          <p:cNvPr id="5" name="Rectangle 18">
            <a:extLst>
              <a:ext uri="{FF2B5EF4-FFF2-40B4-BE49-F238E27FC236}">
                <a16:creationId xmlns:a16="http://schemas.microsoft.com/office/drawing/2014/main" id="{7FF05B27-1325-432D-8114-76BC7807E23B}"/>
              </a:ext>
            </a:extLst>
          </p:cNvPr>
          <p:cNvSpPr/>
          <p:nvPr userDrawn="1"/>
        </p:nvSpPr>
        <p:spPr>
          <a:xfrm>
            <a:off x="595423" y="1690688"/>
            <a:ext cx="5348177" cy="4486275"/>
          </a:xfrm>
          <a:prstGeom prst="rect">
            <a:avLst/>
          </a:prstGeom>
          <a:solidFill>
            <a:srgbClr val="FFF6E3">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Microsoft JhengHei UI Light" panose="020B0304030504040204" pitchFamily="34" charset="-120"/>
              <a:ea typeface="Microsoft JhengHei UI Light" panose="020B0304030504040204" pitchFamily="34" charset="-120"/>
            </a:endParaRPr>
          </a:p>
        </p:txBody>
      </p:sp>
      <p:sp>
        <p:nvSpPr>
          <p:cNvPr id="2" name="Tittel 1">
            <a:extLst>
              <a:ext uri="{FF2B5EF4-FFF2-40B4-BE49-F238E27FC236}">
                <a16:creationId xmlns:a16="http://schemas.microsoft.com/office/drawing/2014/main" id="{BE0FF0D0-3D91-40C9-8A69-3FD0C40940AA}"/>
              </a:ext>
            </a:extLst>
          </p:cNvPr>
          <p:cNvSpPr>
            <a:spLocks noGrp="1"/>
          </p:cNvSpPr>
          <p:nvPr>
            <p:ph type="title"/>
          </p:nvPr>
        </p:nvSpPr>
        <p:spPr/>
        <p:txBody>
          <a:bodyPr>
            <a:normAutofit/>
          </a:bodyPr>
          <a:lstStyle>
            <a:lvl1pPr>
              <a:defRPr sz="3200"/>
            </a:lvl1pPr>
          </a:lstStyle>
          <a:p>
            <a:r>
              <a:rPr lang="nb-NO"/>
              <a:t>Klikk for å redigere tittelstil</a:t>
            </a:r>
            <a:endParaRPr lang="nb-NO" dirty="0"/>
          </a:p>
        </p:txBody>
      </p:sp>
      <p:sp>
        <p:nvSpPr>
          <p:cNvPr id="3" name="Plassholder for innhold 2">
            <a:extLst>
              <a:ext uri="{FF2B5EF4-FFF2-40B4-BE49-F238E27FC236}">
                <a16:creationId xmlns:a16="http://schemas.microsoft.com/office/drawing/2014/main" id="{3EAA40AC-9A59-40F8-9E5F-FF94991ABBE9}"/>
              </a:ext>
            </a:extLst>
          </p:cNvPr>
          <p:cNvSpPr>
            <a:spLocks noGrp="1"/>
          </p:cNvSpPr>
          <p:nvPr>
            <p:ph sz="half" idx="1"/>
          </p:nvPr>
        </p:nvSpPr>
        <p:spPr>
          <a:xfrm>
            <a:off x="838200" y="1825625"/>
            <a:ext cx="4945912" cy="425619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39482DC3-6466-4C98-9D6B-24853F15A908}"/>
              </a:ext>
            </a:extLst>
          </p:cNvPr>
          <p:cNvSpPr>
            <a:spLocks noGrp="1"/>
          </p:cNvSpPr>
          <p:nvPr>
            <p:ph sz="half" idx="2"/>
          </p:nvPr>
        </p:nvSpPr>
        <p:spPr>
          <a:xfrm>
            <a:off x="6305106" y="1825625"/>
            <a:ext cx="5048693" cy="4256198"/>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967324810"/>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ldekkende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3359F952-8B4D-41CC-912B-53B92F80EFA7}"/>
              </a:ext>
            </a:extLst>
          </p:cNvPr>
          <p:cNvSpPr>
            <a:spLocks noGrp="1"/>
          </p:cNvSpPr>
          <p:nvPr>
            <p:ph type="pic" idx="1"/>
          </p:nvPr>
        </p:nvSpPr>
        <p:spPr>
          <a:xfrm>
            <a:off x="0" y="0"/>
            <a:ext cx="12192000" cy="6858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ikonet for å legge til et bilde</a:t>
            </a:r>
          </a:p>
        </p:txBody>
      </p:sp>
      <p:sp>
        <p:nvSpPr>
          <p:cNvPr id="2" name="Tittel 1">
            <a:extLst>
              <a:ext uri="{FF2B5EF4-FFF2-40B4-BE49-F238E27FC236}">
                <a16:creationId xmlns:a16="http://schemas.microsoft.com/office/drawing/2014/main" id="{A24FAD9D-8342-4E8E-A0D7-FAC1B8C070E0}"/>
              </a:ext>
            </a:extLst>
          </p:cNvPr>
          <p:cNvSpPr>
            <a:spLocks noGrp="1"/>
          </p:cNvSpPr>
          <p:nvPr>
            <p:ph type="title"/>
          </p:nvPr>
        </p:nvSpPr>
        <p:spPr/>
        <p:txBody>
          <a:bodyPr>
            <a:normAutofit/>
          </a:bodyPr>
          <a:lstStyle>
            <a:lvl1pPr>
              <a:defRPr sz="3200"/>
            </a:lvl1pPr>
          </a:lstStyle>
          <a:p>
            <a:r>
              <a:rPr lang="nb-NO"/>
              <a:t>Klikk for å redigere tittelstil</a:t>
            </a:r>
            <a:endParaRPr lang="nb-NO" dirty="0"/>
          </a:p>
        </p:txBody>
      </p:sp>
    </p:spTree>
    <p:extLst>
      <p:ext uri="{BB962C8B-B14F-4D97-AF65-F5344CB8AC3E}">
        <p14:creationId xmlns:p14="http://schemas.microsoft.com/office/powerpoint/2010/main" val="1542317111"/>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889589"/>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Enkel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51420CD-4848-47B1-8B62-72CA2B38D051}"/>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nb-NO" dirty="0"/>
          </a:p>
        </p:txBody>
      </p:sp>
      <p:sp>
        <p:nvSpPr>
          <p:cNvPr id="3" name="Plassholder for innhold 2">
            <a:extLst>
              <a:ext uri="{FF2B5EF4-FFF2-40B4-BE49-F238E27FC236}">
                <a16:creationId xmlns:a16="http://schemas.microsoft.com/office/drawing/2014/main" id="{3D246D58-CA48-41B4-9773-BC6F68C93936}"/>
              </a:ext>
            </a:extLst>
          </p:cNvPr>
          <p:cNvSpPr>
            <a:spLocks noGrp="1"/>
          </p:cNvSpPr>
          <p:nvPr>
            <p:ph idx="1"/>
          </p:nvPr>
        </p:nvSpPr>
        <p:spPr>
          <a:xfrm>
            <a:off x="5143500" y="987425"/>
            <a:ext cx="6211888" cy="517524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8539801D-2BFC-4DAD-840F-253B3D029CC1}"/>
              </a:ext>
            </a:extLst>
          </p:cNvPr>
          <p:cNvSpPr>
            <a:spLocks noGrp="1"/>
          </p:cNvSpPr>
          <p:nvPr>
            <p:ph type="body" sz="half" idx="2"/>
          </p:nvPr>
        </p:nvSpPr>
        <p:spPr>
          <a:xfrm>
            <a:off x="839788" y="2057399"/>
            <a:ext cx="3932237" cy="41052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Tree>
    <p:extLst>
      <p:ext uri="{BB962C8B-B14F-4D97-AF65-F5344CB8AC3E}">
        <p14:creationId xmlns:p14="http://schemas.microsoft.com/office/powerpoint/2010/main" val="1567369865"/>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Enkelt tekst og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0E94B66-1428-4E84-974B-C35CCA37F0EF}"/>
              </a:ext>
            </a:extLst>
          </p:cNvPr>
          <p:cNvSpPr>
            <a:spLocks noGrp="1"/>
          </p:cNvSpPr>
          <p:nvPr>
            <p:ph type="title"/>
          </p:nvPr>
        </p:nvSpPr>
        <p:spPr>
          <a:xfrm>
            <a:off x="839788" y="457200"/>
            <a:ext cx="3998912" cy="1600200"/>
          </a:xfrm>
        </p:spPr>
        <p:txBody>
          <a:bodyPr anchor="b"/>
          <a:lstStyle>
            <a:lvl1pPr>
              <a:defRPr sz="3200"/>
            </a:lvl1pPr>
          </a:lstStyle>
          <a:p>
            <a:r>
              <a:rPr lang="nb-NO"/>
              <a:t>Klikk for å redigere tittelstil</a:t>
            </a:r>
            <a:endParaRPr lang="nb-NO" dirty="0"/>
          </a:p>
        </p:txBody>
      </p:sp>
      <p:sp>
        <p:nvSpPr>
          <p:cNvPr id="3" name="Plassholder for bilde 2">
            <a:extLst>
              <a:ext uri="{FF2B5EF4-FFF2-40B4-BE49-F238E27FC236}">
                <a16:creationId xmlns:a16="http://schemas.microsoft.com/office/drawing/2014/main" id="{D522F3F3-EF48-4389-B6B8-51028BE6A7CC}"/>
              </a:ext>
            </a:extLst>
          </p:cNvPr>
          <p:cNvSpPr>
            <a:spLocks noGrp="1"/>
          </p:cNvSpPr>
          <p:nvPr>
            <p:ph type="pic" idx="1"/>
          </p:nvPr>
        </p:nvSpPr>
        <p:spPr>
          <a:xfrm>
            <a:off x="5219700" y="987425"/>
            <a:ext cx="6135688" cy="5108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ikonet for å legge til et bilde</a:t>
            </a:r>
          </a:p>
        </p:txBody>
      </p:sp>
      <p:sp>
        <p:nvSpPr>
          <p:cNvPr id="4" name="Plassholder for tekst 3">
            <a:extLst>
              <a:ext uri="{FF2B5EF4-FFF2-40B4-BE49-F238E27FC236}">
                <a16:creationId xmlns:a16="http://schemas.microsoft.com/office/drawing/2014/main" id="{8BF63590-53F7-46C1-8026-BD0810CACF51}"/>
              </a:ext>
            </a:extLst>
          </p:cNvPr>
          <p:cNvSpPr>
            <a:spLocks noGrp="1"/>
          </p:cNvSpPr>
          <p:nvPr>
            <p:ph type="body" sz="half" idx="2"/>
          </p:nvPr>
        </p:nvSpPr>
        <p:spPr>
          <a:xfrm>
            <a:off x="839788" y="2057400"/>
            <a:ext cx="3998912" cy="40386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Tree>
    <p:extLst>
      <p:ext uri="{BB962C8B-B14F-4D97-AF65-F5344CB8AC3E}">
        <p14:creationId xmlns:p14="http://schemas.microsoft.com/office/powerpoint/2010/main" val="3791357798"/>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image" Target="../media/image6.emf"/><Relationship Id="rId4" Type="http://schemas.openxmlformats.org/officeDocument/2006/relationships/slideLayout" Target="../slideLayouts/slideLayout16.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6.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oleObject" Target="../embeddings/oleObject2.bin"/><Relationship Id="rId2" Type="http://schemas.openxmlformats.org/officeDocument/2006/relationships/slideLayout" Target="../slideLayouts/slideLayout19.xml"/><Relationship Id="rId16" Type="http://schemas.openxmlformats.org/officeDocument/2006/relationships/tags" Target="../tags/tag4.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3.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FE64D2B9-82B5-431B-9A2E-DAEDFD62ED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dirty="0"/>
              <a:t>Klikk for å redigere tittelstil</a:t>
            </a:r>
          </a:p>
        </p:txBody>
      </p:sp>
      <p:sp>
        <p:nvSpPr>
          <p:cNvPr id="3" name="Plassholder for tekst 2">
            <a:extLst>
              <a:ext uri="{FF2B5EF4-FFF2-40B4-BE49-F238E27FC236}">
                <a16:creationId xmlns:a16="http://schemas.microsoft.com/office/drawing/2014/main" id="{FD0F1D53-A669-4FC1-A3CB-4D26765EAA0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8" name="Bilde 7">
            <a:extLst>
              <a:ext uri="{FF2B5EF4-FFF2-40B4-BE49-F238E27FC236}">
                <a16:creationId xmlns:a16="http://schemas.microsoft.com/office/drawing/2014/main" id="{41195AAA-A11F-43C9-94C2-657F6C661A3C}"/>
              </a:ext>
            </a:extLst>
          </p:cNvPr>
          <p:cNvPicPr>
            <a:picLocks noChangeAspect="1"/>
          </p:cNvPicPr>
          <p:nvPr userDrawn="1"/>
        </p:nvPicPr>
        <p:blipFill>
          <a:blip r:embed="rId14"/>
          <a:stretch>
            <a:fillRect/>
          </a:stretch>
        </p:blipFill>
        <p:spPr>
          <a:xfrm>
            <a:off x="9459177" y="6311900"/>
            <a:ext cx="2519269" cy="423926"/>
          </a:xfrm>
          <a:prstGeom prst="rect">
            <a:avLst/>
          </a:prstGeom>
        </p:spPr>
      </p:pic>
      <p:pic>
        <p:nvPicPr>
          <p:cNvPr id="10" name="Bilde 9">
            <a:extLst>
              <a:ext uri="{FF2B5EF4-FFF2-40B4-BE49-F238E27FC236}">
                <a16:creationId xmlns:a16="http://schemas.microsoft.com/office/drawing/2014/main" id="{E2F48495-711A-40BB-900D-2394F887B65A}"/>
              </a:ext>
            </a:extLst>
          </p:cNvPr>
          <p:cNvPicPr>
            <a:picLocks noChangeAspect="1"/>
          </p:cNvPicPr>
          <p:nvPr userDrawn="1"/>
        </p:nvPicPr>
        <p:blipFill rotWithShape="1">
          <a:blip r:embed="rId15"/>
          <a:srcRect r="73049"/>
          <a:stretch/>
        </p:blipFill>
        <p:spPr>
          <a:xfrm>
            <a:off x="-1010682" y="0"/>
            <a:ext cx="734457" cy="6858000"/>
          </a:xfrm>
          <a:prstGeom prst="rect">
            <a:avLst/>
          </a:prstGeom>
        </p:spPr>
      </p:pic>
    </p:spTree>
    <p:extLst>
      <p:ext uri="{BB962C8B-B14F-4D97-AF65-F5344CB8AC3E}">
        <p14:creationId xmlns:p14="http://schemas.microsoft.com/office/powerpoint/2010/main" val="93674797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93" r:id="rId3"/>
    <p:sldLayoutId id="2147483692" r:id="rId4"/>
    <p:sldLayoutId id="2147483686" r:id="rId5"/>
    <p:sldLayoutId id="2147483688" r:id="rId6"/>
    <p:sldLayoutId id="2147483689" r:id="rId7"/>
    <p:sldLayoutId id="2147483690" r:id="rId8"/>
    <p:sldLayoutId id="2147483691" r:id="rId9"/>
    <p:sldLayoutId id="2147483743" r:id="rId10"/>
    <p:sldLayoutId id="2147483744" r:id="rId11"/>
    <p:sldLayoutId id="2147483746"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DD05636-3A21-45BF-BE67-412D2A1A5A90}"/>
              </a:ext>
            </a:extLst>
          </p:cNvPr>
          <p:cNvGraphicFramePr>
            <a:graphicFrameLocks noChangeAspect="1"/>
          </p:cNvGraphicFramePr>
          <p:nvPr userDrawn="1">
            <p:custDataLst>
              <p:tags r:id="rId7"/>
            </p:custDataLst>
            <p:extLst>
              <p:ext uri="{D42A27DB-BD31-4B8C-83A1-F6EECF244321}">
                <p14:modId xmlns:p14="http://schemas.microsoft.com/office/powerpoint/2010/main" val="173373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8" name="Objekt 7" hidden="1">
                        <a:extLst>
                          <a:ext uri="{FF2B5EF4-FFF2-40B4-BE49-F238E27FC236}">
                            <a16:creationId xmlns:a16="http://schemas.microsoft.com/office/drawing/2014/main" id="{7DD05636-3A21-45BF-BE67-412D2A1A5A9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B126B37B-9D9A-4860-B16A-3107F78BB4E5}"/>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nb-NO" sz="4001" b="0"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34963" y="765175"/>
            <a:ext cx="11522075" cy="576263"/>
          </a:xfrm>
          <a:prstGeom prst="rect">
            <a:avLst/>
          </a:prstGeom>
        </p:spPr>
        <p:txBody>
          <a:bodyPr vert="horz" lIns="0" tIns="0" rIns="0" bIns="0" rtlCol="0" anchor="t" anchorCtr="0">
            <a:noAutofit/>
          </a:bodyPr>
          <a:lstStyle/>
          <a:p>
            <a:r>
              <a:rPr lang="nb-NO"/>
              <a:t>Klikk for å redigere tittelstil</a:t>
            </a:r>
            <a:endParaRPr lang="en-US"/>
          </a:p>
        </p:txBody>
      </p:sp>
      <p:sp>
        <p:nvSpPr>
          <p:cNvPr id="3" name="Text Placeholder 2"/>
          <p:cNvSpPr>
            <a:spLocks noGrp="1"/>
          </p:cNvSpPr>
          <p:nvPr>
            <p:ph type="body" idx="1"/>
          </p:nvPr>
        </p:nvSpPr>
        <p:spPr>
          <a:xfrm>
            <a:off x="334963" y="1916113"/>
            <a:ext cx="3708399" cy="4033837"/>
          </a:xfrm>
          <a:prstGeom prst="rect">
            <a:avLst/>
          </a:prstGeom>
        </p:spPr>
        <p:txBody>
          <a:bodyPr vert="horz" lIns="0" tIns="0" rIns="0" bIns="0" rtlCol="0">
            <a:noAutofit/>
          </a:bodyPr>
          <a:lstStyle/>
          <a:p>
            <a:pPr lvl="0"/>
            <a:r>
              <a:rPr lang="en-US"/>
              <a:t>Click to edit Master text</a:t>
            </a:r>
          </a:p>
          <a:p>
            <a:pPr lvl="0"/>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34963" y="6297825"/>
            <a:ext cx="3708400" cy="226800"/>
          </a:xfrm>
          <a:prstGeom prst="rect">
            <a:avLst/>
          </a:prstGeom>
        </p:spPr>
        <p:txBody>
          <a:bodyPr vert="horz" wrap="none" lIns="36000" tIns="0" rIns="36000" bIns="0" rtlCol="0" anchor="t" anchorCtr="0"/>
          <a:lstStyle>
            <a:lvl1pPr algn="l">
              <a:defRPr sz="15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259263" y="6297825"/>
            <a:ext cx="3673476" cy="226800"/>
          </a:xfrm>
          <a:prstGeom prst="rect">
            <a:avLst/>
          </a:prstGeom>
        </p:spPr>
        <p:txBody>
          <a:bodyPr vert="horz" wrap="none" lIns="36000" tIns="0" rIns="36000" bIns="0" rtlCol="0" anchor="t" anchorCtr="0"/>
          <a:lstStyle>
            <a:lvl1pPr algn="ctr">
              <a:defRPr sz="15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148638" y="6297825"/>
            <a:ext cx="3708400" cy="226800"/>
          </a:xfrm>
          <a:prstGeom prst="rect">
            <a:avLst/>
          </a:prstGeom>
        </p:spPr>
        <p:txBody>
          <a:bodyPr vert="horz" wrap="none" lIns="36000" tIns="0" rIns="36000" bIns="0" rtlCol="0" anchor="t" anchorCtr="0"/>
          <a:lstStyle>
            <a:lvl1pPr algn="r">
              <a:defRPr sz="1500">
                <a:solidFill>
                  <a:schemeClr val="tx1">
                    <a:tint val="75000"/>
                  </a:schemeClr>
                </a:solidFill>
              </a:defRPr>
            </a:lvl1pPr>
          </a:lstStyle>
          <a:p>
            <a:fld id="{A3BFB8EC-07A9-4E7C-9CFF-B5E417D52145}" type="slidenum">
              <a:rPr lang="en-US" smtClean="0"/>
              <a:pPr/>
              <a:t>‹#›</a:t>
            </a:fld>
            <a:endParaRPr lang="en-US"/>
          </a:p>
        </p:txBody>
      </p:sp>
      <p:grpSp>
        <p:nvGrpSpPr>
          <p:cNvPr id="35" name="Group 34">
            <a:extLst>
              <a:ext uri="{FF2B5EF4-FFF2-40B4-BE49-F238E27FC236}">
                <a16:creationId xmlns:a16="http://schemas.microsoft.com/office/drawing/2014/main" id="{3C0E7104-9735-4284-AF96-1CC45881F064}"/>
              </a:ext>
            </a:extLst>
          </p:cNvPr>
          <p:cNvGrpSpPr/>
          <p:nvPr userDrawn="1"/>
        </p:nvGrpSpPr>
        <p:grpSpPr>
          <a:xfrm>
            <a:off x="-1040266" y="102542"/>
            <a:ext cx="931728" cy="3072557"/>
            <a:chOff x="-1040266" y="102542"/>
            <a:chExt cx="931728" cy="3072557"/>
          </a:xfrm>
        </p:grpSpPr>
        <p:sp>
          <p:nvSpPr>
            <p:cNvPr id="26" name="Grønn 6">
              <a:extLst>
                <a:ext uri="{FF2B5EF4-FFF2-40B4-BE49-F238E27FC236}">
                  <a16:creationId xmlns:a16="http://schemas.microsoft.com/office/drawing/2014/main" id="{4180CD13-26BF-4956-A291-729168918052}"/>
                </a:ext>
              </a:extLst>
            </p:cNvPr>
            <p:cNvSpPr/>
            <p:nvPr/>
          </p:nvSpPr>
          <p:spPr>
            <a:xfrm>
              <a:off x="-371718" y="2313555"/>
              <a:ext cx="263180" cy="263180"/>
            </a:xfrm>
            <a:prstGeom prst="ellipse">
              <a:avLst/>
            </a:prstGeom>
            <a:solidFill>
              <a:srgbClr val="C4F2DA"/>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7" name="Grønn 5">
              <a:extLst>
                <a:ext uri="{FF2B5EF4-FFF2-40B4-BE49-F238E27FC236}">
                  <a16:creationId xmlns:a16="http://schemas.microsoft.com/office/drawing/2014/main" id="{EF65FFA5-304A-4C4A-8D62-587F069625CA}"/>
                </a:ext>
              </a:extLst>
            </p:cNvPr>
            <p:cNvSpPr/>
            <p:nvPr/>
          </p:nvSpPr>
          <p:spPr>
            <a:xfrm>
              <a:off x="-371718" y="1981198"/>
              <a:ext cx="263180" cy="263180"/>
            </a:xfrm>
            <a:prstGeom prst="ellipse">
              <a:avLst/>
            </a:prstGeom>
            <a:solidFill>
              <a:srgbClr val="02A67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8" name="Grønn 4">
              <a:extLst>
                <a:ext uri="{FF2B5EF4-FFF2-40B4-BE49-F238E27FC236}">
                  <a16:creationId xmlns:a16="http://schemas.microsoft.com/office/drawing/2014/main" id="{0CA528FE-FDB9-43EE-B0DD-6172169354CD}"/>
                </a:ext>
              </a:extLst>
            </p:cNvPr>
            <p:cNvSpPr/>
            <p:nvPr/>
          </p:nvSpPr>
          <p:spPr>
            <a:xfrm>
              <a:off x="-371718" y="1648843"/>
              <a:ext cx="263180" cy="263180"/>
            </a:xfrm>
            <a:prstGeom prst="ellipse">
              <a:avLst/>
            </a:prstGeom>
            <a:solidFill>
              <a:srgbClr val="24736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9" name="Grønn 3">
              <a:extLst>
                <a:ext uri="{FF2B5EF4-FFF2-40B4-BE49-F238E27FC236}">
                  <a16:creationId xmlns:a16="http://schemas.microsoft.com/office/drawing/2014/main" id="{1B0C6F27-1C72-4B25-A63C-9A6FEDFFBFC3}"/>
                </a:ext>
              </a:extLst>
            </p:cNvPr>
            <p:cNvSpPr/>
            <p:nvPr/>
          </p:nvSpPr>
          <p:spPr>
            <a:xfrm>
              <a:off x="-371718" y="1316488"/>
              <a:ext cx="263180" cy="263180"/>
            </a:xfrm>
            <a:prstGeom prst="ellipse">
              <a:avLst/>
            </a:prstGeom>
            <a:solidFill>
              <a:srgbClr val="00292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30" name="Grønn 2">
              <a:extLst>
                <a:ext uri="{FF2B5EF4-FFF2-40B4-BE49-F238E27FC236}">
                  <a16:creationId xmlns:a16="http://schemas.microsoft.com/office/drawing/2014/main" id="{78537D1D-F22C-440B-8742-C2A459B91F4E}"/>
                </a:ext>
              </a:extLst>
            </p:cNvPr>
            <p:cNvSpPr/>
            <p:nvPr/>
          </p:nvSpPr>
          <p:spPr>
            <a:xfrm>
              <a:off x="-371718" y="984133"/>
              <a:ext cx="263180" cy="263180"/>
            </a:xfrm>
            <a:prstGeom prst="ellipse">
              <a:avLst/>
            </a:prstGeom>
            <a:solidFill>
              <a:srgbClr val="7BEFB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31" name="Grønn 1">
              <a:extLst>
                <a:ext uri="{FF2B5EF4-FFF2-40B4-BE49-F238E27FC236}">
                  <a16:creationId xmlns:a16="http://schemas.microsoft.com/office/drawing/2014/main" id="{B8DDF058-1591-4279-AA85-BD3CF6238515}"/>
                </a:ext>
              </a:extLst>
            </p:cNvPr>
            <p:cNvSpPr/>
            <p:nvPr/>
          </p:nvSpPr>
          <p:spPr>
            <a:xfrm>
              <a:off x="-371718" y="651778"/>
              <a:ext cx="263180" cy="263180"/>
            </a:xfrm>
            <a:prstGeom prst="ellipse">
              <a:avLst/>
            </a:prstGeom>
            <a:solidFill>
              <a:srgbClr val="015945"/>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1" name="Grønn 1">
              <a:extLst>
                <a:ext uri="{FF2B5EF4-FFF2-40B4-BE49-F238E27FC236}">
                  <a16:creationId xmlns:a16="http://schemas.microsoft.com/office/drawing/2014/main" id="{942828EF-104D-47C4-B8BD-BD8E8185A0AC}"/>
                </a:ext>
              </a:extLst>
            </p:cNvPr>
            <p:cNvSpPr/>
            <p:nvPr/>
          </p:nvSpPr>
          <p:spPr>
            <a:xfrm>
              <a:off x="-702821" y="706858"/>
              <a:ext cx="138499" cy="138499"/>
            </a:xfrm>
            <a:prstGeom prst="ellipse">
              <a:avLst/>
            </a:prstGeom>
            <a:solidFill>
              <a:srgbClr val="F1F2F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2" name="Grønn 1">
              <a:extLst>
                <a:ext uri="{FF2B5EF4-FFF2-40B4-BE49-F238E27FC236}">
                  <a16:creationId xmlns:a16="http://schemas.microsoft.com/office/drawing/2014/main" id="{1DA2D484-23B5-407C-915B-E173E3CEEEA9}"/>
                </a:ext>
              </a:extLst>
            </p:cNvPr>
            <p:cNvSpPr/>
            <p:nvPr/>
          </p:nvSpPr>
          <p:spPr>
            <a:xfrm>
              <a:off x="-702821" y="1039213"/>
              <a:ext cx="138499" cy="138499"/>
            </a:xfrm>
            <a:prstGeom prst="ellipse">
              <a:avLst/>
            </a:prstGeom>
            <a:solidFill>
              <a:srgbClr val="DCDDDE"/>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3" name="Grønn 1">
              <a:extLst>
                <a:ext uri="{FF2B5EF4-FFF2-40B4-BE49-F238E27FC236}">
                  <a16:creationId xmlns:a16="http://schemas.microsoft.com/office/drawing/2014/main" id="{3453C48E-8AB4-41D2-89DA-744DB69BD413}"/>
                </a:ext>
              </a:extLst>
            </p:cNvPr>
            <p:cNvSpPr/>
            <p:nvPr/>
          </p:nvSpPr>
          <p:spPr>
            <a:xfrm>
              <a:off x="-702821" y="1371568"/>
              <a:ext cx="138499" cy="138499"/>
            </a:xfrm>
            <a:prstGeom prst="ellipse">
              <a:avLst/>
            </a:prstGeom>
            <a:solidFill>
              <a:srgbClr val="BCBEC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4" name="Grønn 1">
              <a:extLst>
                <a:ext uri="{FF2B5EF4-FFF2-40B4-BE49-F238E27FC236}">
                  <a16:creationId xmlns:a16="http://schemas.microsoft.com/office/drawing/2014/main" id="{A6B4B7BD-A48C-42B6-96F5-536C0855224F}"/>
                </a:ext>
              </a:extLst>
            </p:cNvPr>
            <p:cNvSpPr/>
            <p:nvPr/>
          </p:nvSpPr>
          <p:spPr>
            <a:xfrm>
              <a:off x="-702821" y="1703923"/>
              <a:ext cx="138499" cy="138499"/>
            </a:xfrm>
            <a:prstGeom prst="ellipse">
              <a:avLst/>
            </a:prstGeom>
            <a:solidFill>
              <a:srgbClr val="808285"/>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5" name="Grønn 1">
              <a:extLst>
                <a:ext uri="{FF2B5EF4-FFF2-40B4-BE49-F238E27FC236}">
                  <a16:creationId xmlns:a16="http://schemas.microsoft.com/office/drawing/2014/main" id="{5E5A48BE-29C4-4D1B-9D7A-D869135A7FE0}"/>
                </a:ext>
              </a:extLst>
            </p:cNvPr>
            <p:cNvSpPr/>
            <p:nvPr/>
          </p:nvSpPr>
          <p:spPr>
            <a:xfrm>
              <a:off x="-702821" y="2036278"/>
              <a:ext cx="138499" cy="138499"/>
            </a:xfrm>
            <a:prstGeom prst="ellipse">
              <a:avLst/>
            </a:prstGeom>
            <a:solidFill>
              <a:srgbClr val="000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3" name="Grønn 1">
              <a:extLst>
                <a:ext uri="{FF2B5EF4-FFF2-40B4-BE49-F238E27FC236}">
                  <a16:creationId xmlns:a16="http://schemas.microsoft.com/office/drawing/2014/main" id="{8E04445C-0176-4540-95A3-3999876B086C}"/>
                </a:ext>
              </a:extLst>
            </p:cNvPr>
            <p:cNvSpPr/>
            <p:nvPr/>
          </p:nvSpPr>
          <p:spPr>
            <a:xfrm>
              <a:off x="-1035008" y="710113"/>
              <a:ext cx="138499" cy="138499"/>
            </a:xfrm>
            <a:prstGeom prst="ellipse">
              <a:avLst/>
            </a:prstGeom>
            <a:solidFill>
              <a:srgbClr val="00467A"/>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4" name="Grønn 1">
              <a:extLst>
                <a:ext uri="{FF2B5EF4-FFF2-40B4-BE49-F238E27FC236}">
                  <a16:creationId xmlns:a16="http://schemas.microsoft.com/office/drawing/2014/main" id="{6240DB03-AF8A-4970-94CF-27F9CD355E53}"/>
                </a:ext>
              </a:extLst>
            </p:cNvPr>
            <p:cNvSpPr/>
            <p:nvPr/>
          </p:nvSpPr>
          <p:spPr>
            <a:xfrm>
              <a:off x="-1035008" y="1042468"/>
              <a:ext cx="138499" cy="138499"/>
            </a:xfrm>
            <a:prstGeom prst="ellipse">
              <a:avLst/>
            </a:prstGeom>
            <a:solidFill>
              <a:srgbClr val="90DDFA"/>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5" name="Grønn 1">
              <a:extLst>
                <a:ext uri="{FF2B5EF4-FFF2-40B4-BE49-F238E27FC236}">
                  <a16:creationId xmlns:a16="http://schemas.microsoft.com/office/drawing/2014/main" id="{5E08615D-9A27-483C-86FC-A2236A90023A}"/>
                </a:ext>
              </a:extLst>
            </p:cNvPr>
            <p:cNvSpPr/>
            <p:nvPr/>
          </p:nvSpPr>
          <p:spPr>
            <a:xfrm>
              <a:off x="-1033924" y="1374823"/>
              <a:ext cx="138499" cy="138499"/>
            </a:xfrm>
            <a:prstGeom prst="ellipse">
              <a:avLst/>
            </a:prstGeom>
            <a:solidFill>
              <a:srgbClr val="37277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6" name="Grønn 1">
              <a:extLst>
                <a:ext uri="{FF2B5EF4-FFF2-40B4-BE49-F238E27FC236}">
                  <a16:creationId xmlns:a16="http://schemas.microsoft.com/office/drawing/2014/main" id="{D227DBA9-F865-4D67-990A-5665725D0611}"/>
                </a:ext>
              </a:extLst>
            </p:cNvPr>
            <p:cNvSpPr/>
            <p:nvPr/>
          </p:nvSpPr>
          <p:spPr>
            <a:xfrm>
              <a:off x="-1035008" y="1707178"/>
              <a:ext cx="138499" cy="138499"/>
            </a:xfrm>
            <a:prstGeom prst="ellipse">
              <a:avLst/>
            </a:prstGeom>
            <a:solidFill>
              <a:srgbClr val="C0A9FF"/>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7" name="Grønn 1">
              <a:extLst>
                <a:ext uri="{FF2B5EF4-FFF2-40B4-BE49-F238E27FC236}">
                  <a16:creationId xmlns:a16="http://schemas.microsoft.com/office/drawing/2014/main" id="{F6AC13DE-B379-412F-9BCA-4574CE794A14}"/>
                </a:ext>
              </a:extLst>
            </p:cNvPr>
            <p:cNvSpPr/>
            <p:nvPr/>
          </p:nvSpPr>
          <p:spPr>
            <a:xfrm>
              <a:off x="-1035008" y="2039533"/>
              <a:ext cx="138499" cy="138499"/>
            </a:xfrm>
            <a:prstGeom prst="ellipse">
              <a:avLst/>
            </a:prstGeom>
            <a:solidFill>
              <a:srgbClr val="6B1E27"/>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8" name="Grønn 1">
              <a:extLst>
                <a:ext uri="{FF2B5EF4-FFF2-40B4-BE49-F238E27FC236}">
                  <a16:creationId xmlns:a16="http://schemas.microsoft.com/office/drawing/2014/main" id="{6DF52E3E-57FE-4DF7-B103-793D33049FAD}"/>
                </a:ext>
              </a:extLst>
            </p:cNvPr>
            <p:cNvSpPr/>
            <p:nvPr/>
          </p:nvSpPr>
          <p:spPr>
            <a:xfrm>
              <a:off x="-1040266" y="2371888"/>
              <a:ext cx="138499" cy="138499"/>
            </a:xfrm>
            <a:prstGeom prst="ellipse">
              <a:avLst/>
            </a:prstGeom>
            <a:solidFill>
              <a:srgbClr val="D4828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9" name="Grønn 1">
              <a:extLst>
                <a:ext uri="{FF2B5EF4-FFF2-40B4-BE49-F238E27FC236}">
                  <a16:creationId xmlns:a16="http://schemas.microsoft.com/office/drawing/2014/main" id="{CB333F47-E506-4B11-B51D-FBA7B203D653}"/>
                </a:ext>
              </a:extLst>
            </p:cNvPr>
            <p:cNvSpPr/>
            <p:nvPr/>
          </p:nvSpPr>
          <p:spPr>
            <a:xfrm>
              <a:off x="-1040266" y="2704243"/>
              <a:ext cx="138499" cy="138499"/>
            </a:xfrm>
            <a:prstGeom prst="ellipse">
              <a:avLst/>
            </a:prstGeom>
            <a:solidFill>
              <a:srgbClr val="E858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0" name="Grønn 1">
              <a:extLst>
                <a:ext uri="{FF2B5EF4-FFF2-40B4-BE49-F238E27FC236}">
                  <a16:creationId xmlns:a16="http://schemas.microsoft.com/office/drawing/2014/main" id="{0DC3C48F-B2E2-4084-B351-C766A2402B5A}"/>
                </a:ext>
              </a:extLst>
            </p:cNvPr>
            <p:cNvSpPr/>
            <p:nvPr/>
          </p:nvSpPr>
          <p:spPr>
            <a:xfrm>
              <a:off x="-1040266" y="3036600"/>
              <a:ext cx="138499" cy="138499"/>
            </a:xfrm>
            <a:prstGeom prst="ellipse">
              <a:avLst/>
            </a:prstGeom>
            <a:solidFill>
              <a:srgbClr val="FFC46B"/>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32" name="TextBox 31">
              <a:extLst>
                <a:ext uri="{FF2B5EF4-FFF2-40B4-BE49-F238E27FC236}">
                  <a16:creationId xmlns:a16="http://schemas.microsoft.com/office/drawing/2014/main" id="{0932A4D7-2F12-453F-8F1E-CE6F9EDC2279}"/>
                </a:ext>
              </a:extLst>
            </p:cNvPr>
            <p:cNvSpPr txBox="1"/>
            <p:nvPr/>
          </p:nvSpPr>
          <p:spPr>
            <a:xfrm rot="16200000">
              <a:off x="-445313" y="289773"/>
              <a:ext cx="410369" cy="138499"/>
            </a:xfrm>
            <a:prstGeom prst="rect">
              <a:avLst/>
            </a:prstGeom>
            <a:noFill/>
          </p:spPr>
          <p:txBody>
            <a:bodyPr wrap="none" lIns="0" tIns="0" rIns="0" bIns="0" rtlCol="0" anchor="t" anchorCtr="0">
              <a:spAutoFit/>
            </a:bodyPr>
            <a:lstStyle/>
            <a:p>
              <a:pPr algn="l"/>
              <a:r>
                <a:rPr lang="nb-NO">
                  <a:solidFill>
                    <a:schemeClr val="bg1"/>
                  </a:solidFill>
                  <a:latin typeface="Arial" panose="020B0604020202020204" pitchFamily="34" charset="0"/>
                </a:rPr>
                <a:t>Identitet</a:t>
              </a:r>
            </a:p>
          </p:txBody>
        </p:sp>
        <p:sp>
          <p:nvSpPr>
            <p:cNvPr id="33" name="TextBox 32">
              <a:extLst>
                <a:ext uri="{FF2B5EF4-FFF2-40B4-BE49-F238E27FC236}">
                  <a16:creationId xmlns:a16="http://schemas.microsoft.com/office/drawing/2014/main" id="{A04F6DB5-7709-4F50-9D46-BE0BF3777CF8}"/>
                </a:ext>
              </a:extLst>
            </p:cNvPr>
            <p:cNvSpPr txBox="1"/>
            <p:nvPr/>
          </p:nvSpPr>
          <p:spPr>
            <a:xfrm rot="16200000">
              <a:off x="-864404" y="264125"/>
              <a:ext cx="461665" cy="138499"/>
            </a:xfrm>
            <a:prstGeom prst="rect">
              <a:avLst/>
            </a:prstGeom>
            <a:noFill/>
          </p:spPr>
          <p:txBody>
            <a:bodyPr wrap="none" lIns="0" tIns="0" rIns="0" bIns="0" rtlCol="0" anchor="t" anchorCtr="0">
              <a:spAutoFit/>
            </a:bodyPr>
            <a:lstStyle/>
            <a:p>
              <a:pPr algn="l"/>
              <a:r>
                <a:rPr lang="nb-NO">
                  <a:solidFill>
                    <a:schemeClr val="bg1"/>
                  </a:solidFill>
                  <a:latin typeface="Arial" panose="020B0604020202020204" pitchFamily="34" charset="0"/>
                </a:rPr>
                <a:t>Gråskala</a:t>
              </a:r>
            </a:p>
          </p:txBody>
        </p:sp>
        <p:sp>
          <p:nvSpPr>
            <p:cNvPr id="34" name="TextBox 33">
              <a:extLst>
                <a:ext uri="{FF2B5EF4-FFF2-40B4-BE49-F238E27FC236}">
                  <a16:creationId xmlns:a16="http://schemas.microsoft.com/office/drawing/2014/main" id="{F58D3A96-B160-43B8-93A5-CB0536C17791}"/>
                </a:ext>
              </a:extLst>
            </p:cNvPr>
            <p:cNvSpPr txBox="1"/>
            <p:nvPr/>
          </p:nvSpPr>
          <p:spPr>
            <a:xfrm rot="16200000">
              <a:off x="-1119647" y="341069"/>
              <a:ext cx="307777" cy="138499"/>
            </a:xfrm>
            <a:prstGeom prst="rect">
              <a:avLst/>
            </a:prstGeom>
            <a:noFill/>
          </p:spPr>
          <p:txBody>
            <a:bodyPr wrap="none" lIns="0" tIns="0" rIns="0" bIns="0" rtlCol="0" anchor="t" anchorCtr="0">
              <a:spAutoFit/>
            </a:bodyPr>
            <a:lstStyle/>
            <a:p>
              <a:pPr algn="l"/>
              <a:r>
                <a:rPr lang="nb-NO">
                  <a:solidFill>
                    <a:schemeClr val="bg1"/>
                  </a:solidFill>
                  <a:latin typeface="Arial" panose="020B0604020202020204" pitchFamily="34" charset="0"/>
                </a:rPr>
                <a:t>Støtte</a:t>
              </a:r>
            </a:p>
          </p:txBody>
        </p:sp>
      </p:grpSp>
    </p:spTree>
    <p:extLst>
      <p:ext uri="{BB962C8B-B14F-4D97-AF65-F5344CB8AC3E}">
        <p14:creationId xmlns:p14="http://schemas.microsoft.com/office/powerpoint/2010/main" val="2618525997"/>
      </p:ext>
    </p:extLst>
  </p:cSld>
  <p:clrMap bg1="dk1" tx1="lt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914446" rtl="0" eaLnBrk="1" latinLnBrk="0" hangingPunct="1">
        <a:lnSpc>
          <a:spcPct val="90000"/>
        </a:lnSpc>
        <a:spcBef>
          <a:spcPct val="0"/>
        </a:spcBef>
        <a:buNone/>
        <a:defRPr sz="4001" kern="1200">
          <a:solidFill>
            <a:schemeClr val="tx1"/>
          </a:solidFill>
          <a:latin typeface="+mj-lt"/>
          <a:ea typeface="+mj-ea"/>
          <a:cs typeface="+mj-cs"/>
        </a:defRPr>
      </a:lvl1pPr>
    </p:titleStyle>
    <p:bodyStyle>
      <a:lvl1pPr marL="179423" indent="-179423" algn="l" defTabSz="914446" rtl="0" eaLnBrk="1" latinLnBrk="0" hangingPunct="1">
        <a:lnSpc>
          <a:spcPct val="120000"/>
        </a:lnSpc>
        <a:spcBef>
          <a:spcPts val="900"/>
        </a:spcBef>
        <a:buFont typeface="Arial" panose="020B0604020202020204" pitchFamily="34" charset="0"/>
        <a:buChar char="•"/>
        <a:defRPr sz="1200" kern="1200">
          <a:solidFill>
            <a:schemeClr val="tx1"/>
          </a:solidFill>
          <a:latin typeface="+mn-lt"/>
          <a:ea typeface="+mn-ea"/>
          <a:cs typeface="+mn-cs"/>
        </a:defRPr>
      </a:lvl1pPr>
      <a:lvl2pPr marL="685834" indent="-228611" algn="l" defTabSz="914446"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57" indent="-228611" algn="l" defTabSz="914446"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80" indent="-228611" algn="l" defTabSz="914446"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503" indent="-228611" algn="l" defTabSz="914446"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A4A3A4"/>
          </p15:clr>
        </p15:guide>
        <p15:guide id="3" pos="7469">
          <p15:clr>
            <a:srgbClr val="A4A3A4"/>
          </p15:clr>
        </p15:guide>
        <p15:guide id="4" orient="horz" pos="4110">
          <p15:clr>
            <a:srgbClr val="A4A3A4"/>
          </p15:clr>
        </p15:guide>
        <p15:guide id="5" pos="2547">
          <p15:clr>
            <a:srgbClr val="A4A3A4"/>
          </p15:clr>
        </p15:guide>
        <p15:guide id="6" pos="2683">
          <p15:clr>
            <a:srgbClr val="A4A3A4"/>
          </p15:clr>
        </p15:guide>
        <p15:guide id="7" pos="4997">
          <p15:clr>
            <a:srgbClr val="A4A3A4"/>
          </p15:clr>
        </p15:guide>
        <p15:guide id="8" pos="5133">
          <p15:clr>
            <a:srgbClr val="A4A3A4"/>
          </p15:clr>
        </p15:guide>
        <p15:guide id="9" orient="horz" pos="482">
          <p15:clr>
            <a:srgbClr val="A4A3A4"/>
          </p15:clr>
        </p15:guide>
        <p15:guide id="10" orient="horz" pos="845">
          <p15:clr>
            <a:srgbClr val="A4A3A4"/>
          </p15:clr>
        </p15:guide>
        <p15:guide id="11" pos="211">
          <p15:clr>
            <a:srgbClr val="A4A3A4"/>
          </p15:clr>
        </p15:guide>
        <p15:guide id="12" orient="horz" pos="1207">
          <p15:clr>
            <a:srgbClr val="A4A3A4"/>
          </p15:clr>
        </p15:guide>
        <p15:guide id="13" orient="horz" pos="3748">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C9C5DEE-7379-46EA-B1E0-5915C31393E1}"/>
              </a:ext>
            </a:extLst>
          </p:cNvPr>
          <p:cNvGraphicFramePr>
            <a:graphicFrameLocks noChangeAspect="1"/>
          </p:cNvGraphicFramePr>
          <p:nvPr userDrawn="1">
            <p:custDataLst>
              <p:tags r:id="rId15"/>
            </p:custDataLst>
            <p:extLst>
              <p:ext uri="{D42A27DB-BD31-4B8C-83A1-F6EECF244321}">
                <p14:modId xmlns:p14="http://schemas.microsoft.com/office/powerpoint/2010/main" val="15099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95" imgH="394" progId="TCLayout.ActiveDocument.1">
                  <p:embed/>
                </p:oleObj>
              </mc:Choice>
              <mc:Fallback>
                <p:oleObj name="think-cell Slide" r:id="rId17" imgW="395" imgH="394" progId="TCLayout.ActiveDocument.1">
                  <p:embed/>
                  <p:pic>
                    <p:nvPicPr>
                      <p:cNvPr id="8" name="Objekt 7" hidden="1">
                        <a:extLst>
                          <a:ext uri="{FF2B5EF4-FFF2-40B4-BE49-F238E27FC236}">
                            <a16:creationId xmlns:a16="http://schemas.microsoft.com/office/drawing/2014/main" id="{DC9C5DEE-7379-46EA-B1E0-5915C31393E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3CC158DE-D677-43A4-853E-C5D44A61AF12}"/>
              </a:ext>
            </a:extLst>
          </p:cNvPr>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4001" b="0"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34963" y="765175"/>
            <a:ext cx="11522075" cy="576264"/>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34963" y="1916113"/>
            <a:ext cx="3708399" cy="4033837"/>
          </a:xfrm>
          <a:prstGeom prst="rect">
            <a:avLst/>
          </a:prstGeom>
        </p:spPr>
        <p:txBody>
          <a:bodyPr vert="horz" lIns="0" tIns="0" rIns="0" bIns="0" rtlCol="0">
            <a:noAutofit/>
          </a:bodyPr>
          <a:lstStyle/>
          <a:p>
            <a:pPr lvl="0"/>
            <a:r>
              <a:rPr lang="en-US"/>
              <a:t>Click to edit Master text</a:t>
            </a:r>
          </a:p>
          <a:p>
            <a:pPr lvl="0"/>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34962" y="6297825"/>
            <a:ext cx="3708400" cy="226800"/>
          </a:xfrm>
          <a:prstGeom prst="rect">
            <a:avLst/>
          </a:prstGeom>
        </p:spPr>
        <p:txBody>
          <a:bodyPr vert="horz" lIns="36000" tIns="0" rIns="36000" bIns="0" rtlCol="0" anchor="ctr"/>
          <a:lstStyle>
            <a:lvl1pPr algn="l">
              <a:defRPr sz="15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259262" y="6297825"/>
            <a:ext cx="3673476" cy="226800"/>
          </a:xfrm>
          <a:prstGeom prst="rect">
            <a:avLst/>
          </a:prstGeom>
        </p:spPr>
        <p:txBody>
          <a:bodyPr vert="horz" lIns="36000" tIns="0" rIns="36000" bIns="0" rtlCol="0" anchor="ctr"/>
          <a:lstStyle>
            <a:lvl1pPr algn="ctr">
              <a:defRPr sz="15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148637" y="6297825"/>
            <a:ext cx="3708400" cy="226800"/>
          </a:xfrm>
          <a:prstGeom prst="rect">
            <a:avLst/>
          </a:prstGeom>
        </p:spPr>
        <p:txBody>
          <a:bodyPr vert="horz" lIns="36000" tIns="0" rIns="36000" bIns="0" rtlCol="0" anchor="ctr"/>
          <a:lstStyle>
            <a:lvl1pPr algn="r">
              <a:defRPr sz="1500">
                <a:solidFill>
                  <a:schemeClr val="tx1">
                    <a:tint val="75000"/>
                  </a:schemeClr>
                </a:solidFill>
              </a:defRPr>
            </a:lvl1pPr>
          </a:lstStyle>
          <a:p>
            <a:fld id="{A3BFB8EC-07A9-4E7C-9CFF-B5E417D52145}" type="slidenum">
              <a:rPr lang="en-US" smtClean="0"/>
              <a:pPr/>
              <a:t>‹#›</a:t>
            </a:fld>
            <a:endParaRPr lang="en-US"/>
          </a:p>
        </p:txBody>
      </p:sp>
      <p:sp>
        <p:nvSpPr>
          <p:cNvPr id="10" name="Grønn 6">
            <a:extLst>
              <a:ext uri="{FF2B5EF4-FFF2-40B4-BE49-F238E27FC236}">
                <a16:creationId xmlns:a16="http://schemas.microsoft.com/office/drawing/2014/main" id="{DEFC32D2-D900-4F59-8958-EB688A575697}"/>
              </a:ext>
            </a:extLst>
          </p:cNvPr>
          <p:cNvSpPr/>
          <p:nvPr/>
        </p:nvSpPr>
        <p:spPr>
          <a:xfrm>
            <a:off x="-371718" y="2313555"/>
            <a:ext cx="263180" cy="263180"/>
          </a:xfrm>
          <a:prstGeom prst="ellipse">
            <a:avLst/>
          </a:prstGeom>
          <a:solidFill>
            <a:srgbClr val="C4F2DA"/>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1" name="Grønn 5">
            <a:extLst>
              <a:ext uri="{FF2B5EF4-FFF2-40B4-BE49-F238E27FC236}">
                <a16:creationId xmlns:a16="http://schemas.microsoft.com/office/drawing/2014/main" id="{C25E21F5-8F77-4B07-B9CE-0B656408F31B}"/>
              </a:ext>
            </a:extLst>
          </p:cNvPr>
          <p:cNvSpPr/>
          <p:nvPr/>
        </p:nvSpPr>
        <p:spPr>
          <a:xfrm>
            <a:off x="-371718" y="1981198"/>
            <a:ext cx="263180" cy="263180"/>
          </a:xfrm>
          <a:prstGeom prst="ellipse">
            <a:avLst/>
          </a:prstGeom>
          <a:solidFill>
            <a:srgbClr val="02A67F"/>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2" name="Grønn 4">
            <a:extLst>
              <a:ext uri="{FF2B5EF4-FFF2-40B4-BE49-F238E27FC236}">
                <a16:creationId xmlns:a16="http://schemas.microsoft.com/office/drawing/2014/main" id="{F89C2CC7-22DD-4321-B73F-7906390C2D0E}"/>
              </a:ext>
            </a:extLst>
          </p:cNvPr>
          <p:cNvSpPr/>
          <p:nvPr/>
        </p:nvSpPr>
        <p:spPr>
          <a:xfrm>
            <a:off x="-371718" y="1648843"/>
            <a:ext cx="263180" cy="263180"/>
          </a:xfrm>
          <a:prstGeom prst="ellipse">
            <a:avLst/>
          </a:prstGeom>
          <a:solidFill>
            <a:srgbClr val="24736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3" name="Grønn 3">
            <a:extLst>
              <a:ext uri="{FF2B5EF4-FFF2-40B4-BE49-F238E27FC236}">
                <a16:creationId xmlns:a16="http://schemas.microsoft.com/office/drawing/2014/main" id="{C53FD56A-8668-4E99-BDB1-9F61EC2AAB24}"/>
              </a:ext>
            </a:extLst>
          </p:cNvPr>
          <p:cNvSpPr/>
          <p:nvPr/>
        </p:nvSpPr>
        <p:spPr>
          <a:xfrm>
            <a:off x="-371718" y="1316488"/>
            <a:ext cx="263180" cy="263180"/>
          </a:xfrm>
          <a:prstGeom prst="ellipse">
            <a:avLst/>
          </a:prstGeom>
          <a:solidFill>
            <a:srgbClr val="00292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4" name="Grønn 2">
            <a:extLst>
              <a:ext uri="{FF2B5EF4-FFF2-40B4-BE49-F238E27FC236}">
                <a16:creationId xmlns:a16="http://schemas.microsoft.com/office/drawing/2014/main" id="{A8802987-52E1-4146-A02F-4DDAECF25160}"/>
              </a:ext>
            </a:extLst>
          </p:cNvPr>
          <p:cNvSpPr/>
          <p:nvPr/>
        </p:nvSpPr>
        <p:spPr>
          <a:xfrm>
            <a:off x="-371718" y="984133"/>
            <a:ext cx="263180" cy="263180"/>
          </a:xfrm>
          <a:prstGeom prst="ellipse">
            <a:avLst/>
          </a:prstGeom>
          <a:solidFill>
            <a:srgbClr val="7BEFB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5" name="Grønn 1">
            <a:extLst>
              <a:ext uri="{FF2B5EF4-FFF2-40B4-BE49-F238E27FC236}">
                <a16:creationId xmlns:a16="http://schemas.microsoft.com/office/drawing/2014/main" id="{20DB799D-A66E-46CA-8E97-8FE845A71F58}"/>
              </a:ext>
            </a:extLst>
          </p:cNvPr>
          <p:cNvSpPr/>
          <p:nvPr/>
        </p:nvSpPr>
        <p:spPr>
          <a:xfrm>
            <a:off x="-371718" y="651778"/>
            <a:ext cx="263180" cy="263180"/>
          </a:xfrm>
          <a:prstGeom prst="ellipse">
            <a:avLst/>
          </a:prstGeom>
          <a:solidFill>
            <a:srgbClr val="01594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6" name="Grønn 1">
            <a:extLst>
              <a:ext uri="{FF2B5EF4-FFF2-40B4-BE49-F238E27FC236}">
                <a16:creationId xmlns:a16="http://schemas.microsoft.com/office/drawing/2014/main" id="{54DB7CF0-E5C2-4762-ACC7-6E5003AF5D16}"/>
              </a:ext>
            </a:extLst>
          </p:cNvPr>
          <p:cNvSpPr/>
          <p:nvPr/>
        </p:nvSpPr>
        <p:spPr>
          <a:xfrm>
            <a:off x="-702821" y="706858"/>
            <a:ext cx="138499" cy="138499"/>
          </a:xfrm>
          <a:prstGeom prst="ellipse">
            <a:avLst/>
          </a:prstGeom>
          <a:solidFill>
            <a:srgbClr val="F1F2F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7" name="Grønn 1">
            <a:extLst>
              <a:ext uri="{FF2B5EF4-FFF2-40B4-BE49-F238E27FC236}">
                <a16:creationId xmlns:a16="http://schemas.microsoft.com/office/drawing/2014/main" id="{B686E1D7-9A95-46B3-833E-FE5C24838884}"/>
              </a:ext>
            </a:extLst>
          </p:cNvPr>
          <p:cNvSpPr/>
          <p:nvPr/>
        </p:nvSpPr>
        <p:spPr>
          <a:xfrm>
            <a:off x="-702821" y="1039213"/>
            <a:ext cx="138499" cy="138499"/>
          </a:xfrm>
          <a:prstGeom prst="ellipse">
            <a:avLst/>
          </a:prstGeom>
          <a:solidFill>
            <a:srgbClr val="DCDD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8" name="Grønn 1">
            <a:extLst>
              <a:ext uri="{FF2B5EF4-FFF2-40B4-BE49-F238E27FC236}">
                <a16:creationId xmlns:a16="http://schemas.microsoft.com/office/drawing/2014/main" id="{08ABF0F9-5557-40E1-9335-EBDD1E427DE6}"/>
              </a:ext>
            </a:extLst>
          </p:cNvPr>
          <p:cNvSpPr/>
          <p:nvPr/>
        </p:nvSpPr>
        <p:spPr>
          <a:xfrm>
            <a:off x="-702821" y="1371568"/>
            <a:ext cx="138499" cy="138499"/>
          </a:xfrm>
          <a:prstGeom prst="ellipse">
            <a:avLst/>
          </a:prstGeom>
          <a:solidFill>
            <a:srgbClr val="BCBEC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19" name="Grønn 1">
            <a:extLst>
              <a:ext uri="{FF2B5EF4-FFF2-40B4-BE49-F238E27FC236}">
                <a16:creationId xmlns:a16="http://schemas.microsoft.com/office/drawing/2014/main" id="{81F65349-8800-4CAE-BC3D-4540356541DD}"/>
              </a:ext>
            </a:extLst>
          </p:cNvPr>
          <p:cNvSpPr/>
          <p:nvPr/>
        </p:nvSpPr>
        <p:spPr>
          <a:xfrm>
            <a:off x="-702821" y="1703923"/>
            <a:ext cx="138499" cy="138499"/>
          </a:xfrm>
          <a:prstGeom prst="ellipse">
            <a:avLst/>
          </a:prstGeom>
          <a:solidFill>
            <a:srgbClr val="808285"/>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0" name="Grønn 1">
            <a:extLst>
              <a:ext uri="{FF2B5EF4-FFF2-40B4-BE49-F238E27FC236}">
                <a16:creationId xmlns:a16="http://schemas.microsoft.com/office/drawing/2014/main" id="{EB49F8A2-560F-48F7-BFD2-4AA08376FCC5}"/>
              </a:ext>
            </a:extLst>
          </p:cNvPr>
          <p:cNvSpPr/>
          <p:nvPr/>
        </p:nvSpPr>
        <p:spPr>
          <a:xfrm>
            <a:off x="-702821" y="2036278"/>
            <a:ext cx="138499" cy="138499"/>
          </a:xfrm>
          <a:prstGeom prst="ellipse">
            <a:avLst/>
          </a:prstGeom>
          <a:solidFill>
            <a:srgbClr val="00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1" name="Grønn 1">
            <a:extLst>
              <a:ext uri="{FF2B5EF4-FFF2-40B4-BE49-F238E27FC236}">
                <a16:creationId xmlns:a16="http://schemas.microsoft.com/office/drawing/2014/main" id="{239581AC-B2F6-4D2B-81B2-1E0B2AC47DAA}"/>
              </a:ext>
            </a:extLst>
          </p:cNvPr>
          <p:cNvSpPr/>
          <p:nvPr/>
        </p:nvSpPr>
        <p:spPr>
          <a:xfrm>
            <a:off x="-1035008" y="710113"/>
            <a:ext cx="138499" cy="138499"/>
          </a:xfrm>
          <a:prstGeom prst="ellipse">
            <a:avLst/>
          </a:prstGeom>
          <a:solidFill>
            <a:srgbClr val="00467A"/>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2" name="Grønn 1">
            <a:extLst>
              <a:ext uri="{FF2B5EF4-FFF2-40B4-BE49-F238E27FC236}">
                <a16:creationId xmlns:a16="http://schemas.microsoft.com/office/drawing/2014/main" id="{C362A776-CE21-4BA4-A381-9EC5627EC431}"/>
              </a:ext>
            </a:extLst>
          </p:cNvPr>
          <p:cNvSpPr/>
          <p:nvPr/>
        </p:nvSpPr>
        <p:spPr>
          <a:xfrm>
            <a:off x="-1035008" y="1042468"/>
            <a:ext cx="138499" cy="138499"/>
          </a:xfrm>
          <a:prstGeom prst="ellipse">
            <a:avLst/>
          </a:prstGeom>
          <a:solidFill>
            <a:srgbClr val="90DDFA"/>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3" name="Grønn 1">
            <a:extLst>
              <a:ext uri="{FF2B5EF4-FFF2-40B4-BE49-F238E27FC236}">
                <a16:creationId xmlns:a16="http://schemas.microsoft.com/office/drawing/2014/main" id="{C979672C-C192-47AD-9285-0C7061D2E082}"/>
              </a:ext>
            </a:extLst>
          </p:cNvPr>
          <p:cNvSpPr/>
          <p:nvPr/>
        </p:nvSpPr>
        <p:spPr>
          <a:xfrm>
            <a:off x="-1033924" y="1374823"/>
            <a:ext cx="138499" cy="138499"/>
          </a:xfrm>
          <a:prstGeom prst="ellipse">
            <a:avLst/>
          </a:prstGeom>
          <a:solidFill>
            <a:srgbClr val="37277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4" name="Grønn 1">
            <a:extLst>
              <a:ext uri="{FF2B5EF4-FFF2-40B4-BE49-F238E27FC236}">
                <a16:creationId xmlns:a16="http://schemas.microsoft.com/office/drawing/2014/main" id="{0FAD4F61-A6A4-4523-B2CB-9D299B6909DF}"/>
              </a:ext>
            </a:extLst>
          </p:cNvPr>
          <p:cNvSpPr/>
          <p:nvPr/>
        </p:nvSpPr>
        <p:spPr>
          <a:xfrm>
            <a:off x="-1035008" y="1707178"/>
            <a:ext cx="138499" cy="138499"/>
          </a:xfrm>
          <a:prstGeom prst="ellipse">
            <a:avLst/>
          </a:prstGeom>
          <a:solidFill>
            <a:srgbClr val="C0A9FF"/>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5" name="Grønn 1">
            <a:extLst>
              <a:ext uri="{FF2B5EF4-FFF2-40B4-BE49-F238E27FC236}">
                <a16:creationId xmlns:a16="http://schemas.microsoft.com/office/drawing/2014/main" id="{FD36EBBA-CE07-4BCA-A08D-53CD7CE7D376}"/>
              </a:ext>
            </a:extLst>
          </p:cNvPr>
          <p:cNvSpPr/>
          <p:nvPr/>
        </p:nvSpPr>
        <p:spPr>
          <a:xfrm>
            <a:off x="-1035008" y="2039533"/>
            <a:ext cx="138499" cy="138499"/>
          </a:xfrm>
          <a:prstGeom prst="ellipse">
            <a:avLst/>
          </a:prstGeom>
          <a:solidFill>
            <a:srgbClr val="6B1E27"/>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6" name="Grønn 1">
            <a:extLst>
              <a:ext uri="{FF2B5EF4-FFF2-40B4-BE49-F238E27FC236}">
                <a16:creationId xmlns:a16="http://schemas.microsoft.com/office/drawing/2014/main" id="{EB901D64-1927-4160-A0A8-59B608E86501}"/>
              </a:ext>
            </a:extLst>
          </p:cNvPr>
          <p:cNvSpPr/>
          <p:nvPr/>
        </p:nvSpPr>
        <p:spPr>
          <a:xfrm>
            <a:off x="-1040266" y="2371888"/>
            <a:ext cx="138499" cy="138499"/>
          </a:xfrm>
          <a:prstGeom prst="ellipse">
            <a:avLst/>
          </a:prstGeom>
          <a:solidFill>
            <a:srgbClr val="D4828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7" name="Grønn 1">
            <a:extLst>
              <a:ext uri="{FF2B5EF4-FFF2-40B4-BE49-F238E27FC236}">
                <a16:creationId xmlns:a16="http://schemas.microsoft.com/office/drawing/2014/main" id="{0B017F2A-5D1A-46FE-800A-B72694B0689C}"/>
              </a:ext>
            </a:extLst>
          </p:cNvPr>
          <p:cNvSpPr/>
          <p:nvPr/>
        </p:nvSpPr>
        <p:spPr>
          <a:xfrm>
            <a:off x="-1040266" y="2704243"/>
            <a:ext cx="138499" cy="138499"/>
          </a:xfrm>
          <a:prstGeom prst="ellipse">
            <a:avLst/>
          </a:prstGeom>
          <a:solidFill>
            <a:srgbClr val="E858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8" name="Grønn 1">
            <a:extLst>
              <a:ext uri="{FF2B5EF4-FFF2-40B4-BE49-F238E27FC236}">
                <a16:creationId xmlns:a16="http://schemas.microsoft.com/office/drawing/2014/main" id="{F6DF0041-4055-4496-B757-733E74CF3BE1}"/>
              </a:ext>
            </a:extLst>
          </p:cNvPr>
          <p:cNvSpPr/>
          <p:nvPr/>
        </p:nvSpPr>
        <p:spPr>
          <a:xfrm>
            <a:off x="-1040266" y="3036600"/>
            <a:ext cx="138499" cy="138499"/>
          </a:xfrm>
          <a:prstGeom prst="ellipse">
            <a:avLst/>
          </a:prstGeom>
          <a:solidFill>
            <a:srgbClr val="FFC46B"/>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Arial" panose="020B0604020202020204" pitchFamily="34" charset="0"/>
            </a:endParaRPr>
          </a:p>
        </p:txBody>
      </p:sp>
      <p:sp>
        <p:nvSpPr>
          <p:cNvPr id="29" name="TextBox 28">
            <a:extLst>
              <a:ext uri="{FF2B5EF4-FFF2-40B4-BE49-F238E27FC236}">
                <a16:creationId xmlns:a16="http://schemas.microsoft.com/office/drawing/2014/main" id="{0C025540-C002-4446-831C-D627E267429C}"/>
              </a:ext>
            </a:extLst>
          </p:cNvPr>
          <p:cNvSpPr txBox="1"/>
          <p:nvPr/>
        </p:nvSpPr>
        <p:spPr>
          <a:xfrm rot="16200000">
            <a:off x="-445313" y="289773"/>
            <a:ext cx="410369" cy="138499"/>
          </a:xfrm>
          <a:prstGeom prst="rect">
            <a:avLst/>
          </a:prstGeom>
          <a:noFill/>
        </p:spPr>
        <p:txBody>
          <a:bodyPr wrap="none" lIns="0" tIns="0" rIns="0" bIns="0" rtlCol="0" anchor="t" anchorCtr="0">
            <a:spAutoFit/>
          </a:bodyPr>
          <a:lstStyle/>
          <a:p>
            <a:pPr algn="l"/>
            <a:r>
              <a:rPr lang="nb-NO">
                <a:solidFill>
                  <a:schemeClr val="tx1"/>
                </a:solidFill>
                <a:latin typeface="Arial" panose="020B0604020202020204" pitchFamily="34" charset="0"/>
              </a:rPr>
              <a:t>Identitet</a:t>
            </a:r>
          </a:p>
        </p:txBody>
      </p:sp>
      <p:sp>
        <p:nvSpPr>
          <p:cNvPr id="30" name="TextBox 29">
            <a:extLst>
              <a:ext uri="{FF2B5EF4-FFF2-40B4-BE49-F238E27FC236}">
                <a16:creationId xmlns:a16="http://schemas.microsoft.com/office/drawing/2014/main" id="{AD60AC7B-B9C1-439F-A9DF-11EE9D406F42}"/>
              </a:ext>
            </a:extLst>
          </p:cNvPr>
          <p:cNvSpPr txBox="1"/>
          <p:nvPr/>
        </p:nvSpPr>
        <p:spPr>
          <a:xfrm rot="16200000">
            <a:off x="-864404" y="264125"/>
            <a:ext cx="461665" cy="138499"/>
          </a:xfrm>
          <a:prstGeom prst="rect">
            <a:avLst/>
          </a:prstGeom>
          <a:noFill/>
        </p:spPr>
        <p:txBody>
          <a:bodyPr wrap="none" lIns="0" tIns="0" rIns="0" bIns="0" rtlCol="0" anchor="t" anchorCtr="0">
            <a:spAutoFit/>
          </a:bodyPr>
          <a:lstStyle/>
          <a:p>
            <a:pPr algn="l"/>
            <a:r>
              <a:rPr lang="nb-NO">
                <a:solidFill>
                  <a:schemeClr val="tx1"/>
                </a:solidFill>
                <a:latin typeface="Arial" panose="020B0604020202020204" pitchFamily="34" charset="0"/>
              </a:rPr>
              <a:t>Gråskala</a:t>
            </a:r>
          </a:p>
        </p:txBody>
      </p:sp>
      <p:sp>
        <p:nvSpPr>
          <p:cNvPr id="31" name="TextBox 30">
            <a:extLst>
              <a:ext uri="{FF2B5EF4-FFF2-40B4-BE49-F238E27FC236}">
                <a16:creationId xmlns:a16="http://schemas.microsoft.com/office/drawing/2014/main" id="{B03C8BEA-A766-4FD8-8465-5EEB1440876F}"/>
              </a:ext>
            </a:extLst>
          </p:cNvPr>
          <p:cNvSpPr txBox="1"/>
          <p:nvPr/>
        </p:nvSpPr>
        <p:spPr>
          <a:xfrm rot="16200000">
            <a:off x="-1119647" y="341069"/>
            <a:ext cx="307777" cy="138499"/>
          </a:xfrm>
          <a:prstGeom prst="rect">
            <a:avLst/>
          </a:prstGeom>
          <a:noFill/>
        </p:spPr>
        <p:txBody>
          <a:bodyPr wrap="none" lIns="0" tIns="0" rIns="0" bIns="0" rtlCol="0" anchor="t" anchorCtr="0">
            <a:spAutoFit/>
          </a:bodyPr>
          <a:lstStyle/>
          <a:p>
            <a:pPr algn="l"/>
            <a:r>
              <a:rPr lang="nb-NO">
                <a:solidFill>
                  <a:schemeClr val="tx1"/>
                </a:solidFill>
                <a:latin typeface="Arial" panose="020B0604020202020204" pitchFamily="34" charset="0"/>
              </a:rPr>
              <a:t>Støtte</a:t>
            </a:r>
          </a:p>
        </p:txBody>
      </p:sp>
    </p:spTree>
    <p:extLst>
      <p:ext uri="{BB962C8B-B14F-4D97-AF65-F5344CB8AC3E}">
        <p14:creationId xmlns:p14="http://schemas.microsoft.com/office/powerpoint/2010/main" val="190281261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914446" rtl="0" eaLnBrk="1" latinLnBrk="0" hangingPunct="1">
        <a:lnSpc>
          <a:spcPct val="90000"/>
        </a:lnSpc>
        <a:spcBef>
          <a:spcPct val="0"/>
        </a:spcBef>
        <a:buNone/>
        <a:defRPr sz="4001" kern="1200">
          <a:solidFill>
            <a:schemeClr val="tx2"/>
          </a:solidFill>
          <a:latin typeface="+mj-lt"/>
          <a:ea typeface="+mj-ea"/>
          <a:cs typeface="+mj-cs"/>
        </a:defRPr>
      </a:lvl1pPr>
    </p:titleStyle>
    <p:bodyStyle>
      <a:lvl1pPr marL="171450" indent="-171450" algn="l" defTabSz="914446" rtl="0" eaLnBrk="1" latinLnBrk="0" hangingPunct="1">
        <a:lnSpc>
          <a:spcPct val="120000"/>
        </a:lnSpc>
        <a:spcBef>
          <a:spcPts val="900"/>
        </a:spcBef>
        <a:buFont typeface="Arial" panose="020B0604020202020204" pitchFamily="34" charset="0"/>
        <a:buChar char="•"/>
        <a:defRPr sz="1200" kern="1200">
          <a:solidFill>
            <a:schemeClr val="tx1"/>
          </a:solidFill>
          <a:latin typeface="+mn-lt"/>
          <a:ea typeface="+mn-ea"/>
          <a:cs typeface="+mn-cs"/>
        </a:defRPr>
      </a:lvl1pPr>
      <a:lvl2pPr marL="685834" indent="-228611" algn="l" defTabSz="914446"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2pPr>
      <a:lvl3pPr marL="1143057" indent="-228611" algn="l" defTabSz="914446"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80" indent="-228611" algn="l" defTabSz="914446"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503" indent="-228611" algn="l" defTabSz="914446" rtl="0" eaLnBrk="1" latinLnBrk="0" hangingPunct="1">
        <a:lnSpc>
          <a:spcPct val="12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211">
          <p15:clr>
            <a:srgbClr val="F26B43"/>
          </p15:clr>
        </p15:guide>
        <p15:guide id="3" orient="horz" pos="4110">
          <p15:clr>
            <a:srgbClr val="F26B43"/>
          </p15:clr>
        </p15:guide>
        <p15:guide id="4" pos="7469">
          <p15:clr>
            <a:srgbClr val="F26B43"/>
          </p15:clr>
        </p15:guide>
        <p15:guide id="5" orient="horz" pos="482">
          <p15:clr>
            <a:srgbClr val="F26B43"/>
          </p15:clr>
        </p15:guide>
        <p15:guide id="6" pos="2683">
          <p15:clr>
            <a:srgbClr val="F26B43"/>
          </p15:clr>
        </p15:guide>
        <p15:guide id="7" pos="2547">
          <p15:clr>
            <a:srgbClr val="F26B43"/>
          </p15:clr>
        </p15:guide>
        <p15:guide id="8" pos="4997">
          <p15:clr>
            <a:srgbClr val="F26B43"/>
          </p15:clr>
        </p15:guide>
        <p15:guide id="9" pos="5133">
          <p15:clr>
            <a:srgbClr val="F26B43"/>
          </p15:clr>
        </p15:guide>
        <p15:guide id="10" orient="horz" pos="845">
          <p15:clr>
            <a:srgbClr val="F26B43"/>
          </p15:clr>
        </p15:guide>
        <p15:guide id="11" orient="horz" pos="1207">
          <p15:clr>
            <a:srgbClr val="F26B43"/>
          </p15:clr>
        </p15:guide>
        <p15:guide id="12" orient="horz" pos="374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40.png"/><Relationship Id="rId18" Type="http://schemas.openxmlformats.org/officeDocument/2006/relationships/image" Target="../media/image45.sv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svg"/><Relationship Id="rId17" Type="http://schemas.openxmlformats.org/officeDocument/2006/relationships/image" Target="../media/image44.png"/><Relationship Id="rId2" Type="http://schemas.openxmlformats.org/officeDocument/2006/relationships/notesSlide" Target="../notesSlides/notesSlide8.xml"/><Relationship Id="rId16" Type="http://schemas.openxmlformats.org/officeDocument/2006/relationships/image" Target="../media/image43.svg"/><Relationship Id="rId1" Type="http://schemas.openxmlformats.org/officeDocument/2006/relationships/slideLayout" Target="../slideLayouts/slideLayout11.xml"/><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5" Type="http://schemas.openxmlformats.org/officeDocument/2006/relationships/image" Target="../media/image4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 Id="rId14" Type="http://schemas.openxmlformats.org/officeDocument/2006/relationships/image" Target="../media/image41.svg"/></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image" Target="../media/image16.sv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7.xml"/><Relationship Id="rId5" Type="http://schemas.openxmlformats.org/officeDocument/2006/relationships/image" Target="../media/image18.sv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D88E634-90E4-47DE-B494-1FDACC653303}"/>
              </a:ext>
            </a:extLst>
          </p:cNvPr>
          <p:cNvSpPr>
            <a:spLocks noGrp="1"/>
          </p:cNvSpPr>
          <p:nvPr>
            <p:ph type="ctrTitle"/>
          </p:nvPr>
        </p:nvSpPr>
        <p:spPr>
          <a:xfrm>
            <a:off x="936703" y="776176"/>
            <a:ext cx="5497552" cy="3211033"/>
          </a:xfrm>
        </p:spPr>
        <p:txBody>
          <a:bodyPr>
            <a:normAutofit/>
          </a:bodyPr>
          <a:lstStyle/>
          <a:p>
            <a:r>
              <a:rPr lang="nb-NO" dirty="0"/>
              <a:t>Hva er FNSP?</a:t>
            </a:r>
          </a:p>
        </p:txBody>
      </p:sp>
    </p:spTree>
    <p:extLst>
      <p:ext uri="{BB962C8B-B14F-4D97-AF65-F5344CB8AC3E}">
        <p14:creationId xmlns:p14="http://schemas.microsoft.com/office/powerpoint/2010/main" val="22310462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Sylinder 6"/>
          <p:cNvSpPr txBox="1"/>
          <p:nvPr/>
        </p:nvSpPr>
        <p:spPr>
          <a:xfrm>
            <a:off x="815414" y="260648"/>
            <a:ext cx="9697077" cy="584775"/>
          </a:xfrm>
          <a:prstGeom prst="rect">
            <a:avLst/>
          </a:prstGeom>
          <a:solidFill>
            <a:schemeClr val="bg1"/>
          </a:solidFill>
        </p:spPr>
        <p:txBody>
          <a:bodyPr wrap="square" rtlCol="0">
            <a:spAutoFit/>
          </a:bodyPr>
          <a:lstStyle/>
          <a:p>
            <a:r>
              <a:rPr lang="nb-NO" sz="3200">
                <a:latin typeface="+mj-lt"/>
              </a:rPr>
              <a:t>Månedlig utvikling</a:t>
            </a:r>
          </a:p>
        </p:txBody>
      </p:sp>
      <p:graphicFrame>
        <p:nvGraphicFramePr>
          <p:cNvPr id="2" name="Diagram 1">
            <a:extLst>
              <a:ext uri="{FF2B5EF4-FFF2-40B4-BE49-F238E27FC236}">
                <a16:creationId xmlns:a16="http://schemas.microsoft.com/office/drawing/2014/main" id="{088C5D63-4879-0566-2C3A-8DB234190B37}"/>
              </a:ext>
            </a:extLst>
          </p:cNvPr>
          <p:cNvGraphicFramePr/>
          <p:nvPr>
            <p:extLst>
              <p:ext uri="{D42A27DB-BD31-4B8C-83A1-F6EECF244321}">
                <p14:modId xmlns:p14="http://schemas.microsoft.com/office/powerpoint/2010/main" val="1080534079"/>
              </p:ext>
            </p:extLst>
          </p:nvPr>
        </p:nvGraphicFramePr>
        <p:xfrm>
          <a:off x="365760" y="1540412"/>
          <a:ext cx="11261188" cy="399522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046787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ktangel 29"/>
          <p:cNvSpPr/>
          <p:nvPr/>
        </p:nvSpPr>
        <p:spPr>
          <a:xfrm>
            <a:off x="-291" y="4062676"/>
            <a:ext cx="12192000" cy="1946238"/>
          </a:xfrm>
          <a:prstGeom prst="rect">
            <a:avLst/>
          </a:prstGeom>
          <a:solidFill>
            <a:srgbClr val="FE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Rektangel 2"/>
          <p:cNvSpPr/>
          <p:nvPr/>
        </p:nvSpPr>
        <p:spPr>
          <a:xfrm>
            <a:off x="0" y="1399121"/>
            <a:ext cx="12192000" cy="1843127"/>
          </a:xfrm>
          <a:prstGeom prst="rect">
            <a:avLst/>
          </a:prstGeom>
          <a:solidFill>
            <a:srgbClr val="F2F7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21" name="Group 20">
            <a:extLst>
              <a:ext uri="{FF2B5EF4-FFF2-40B4-BE49-F238E27FC236}">
                <a16:creationId xmlns:a16="http://schemas.microsoft.com/office/drawing/2014/main" id="{72A9A8D0-C8B2-4945-A954-6B3FACBEE70E}"/>
              </a:ext>
            </a:extLst>
          </p:cNvPr>
          <p:cNvGrpSpPr/>
          <p:nvPr/>
        </p:nvGrpSpPr>
        <p:grpSpPr>
          <a:xfrm>
            <a:off x="4820269" y="4691803"/>
            <a:ext cx="2548494" cy="974319"/>
            <a:chOff x="8799513" y="9564688"/>
            <a:chExt cx="6784975" cy="2593975"/>
          </a:xfrm>
          <a:solidFill>
            <a:schemeClr val="accent2">
              <a:lumMod val="75000"/>
            </a:schemeClr>
          </a:solidFill>
        </p:grpSpPr>
        <p:sp>
          <p:nvSpPr>
            <p:cNvPr id="7" name="Freeform 5">
              <a:extLst>
                <a:ext uri="{FF2B5EF4-FFF2-40B4-BE49-F238E27FC236}">
                  <a16:creationId xmlns:a16="http://schemas.microsoft.com/office/drawing/2014/main" id="{16E07965-DF74-46DA-B97B-32048D808DB2}"/>
                </a:ext>
              </a:extLst>
            </p:cNvPr>
            <p:cNvSpPr>
              <a:spLocks/>
            </p:cNvSpPr>
            <p:nvPr/>
          </p:nvSpPr>
          <p:spPr bwMode="auto">
            <a:xfrm>
              <a:off x="8799513" y="10075863"/>
              <a:ext cx="6784975" cy="2082800"/>
            </a:xfrm>
            <a:custGeom>
              <a:avLst/>
              <a:gdLst>
                <a:gd name="T0" fmla="*/ 2458 w 2458"/>
                <a:gd name="T1" fmla="*/ 0 h 754"/>
                <a:gd name="T2" fmla="*/ 0 w 2458"/>
                <a:gd name="T3" fmla="*/ 0 h 754"/>
              </a:gdLst>
              <a:ahLst/>
              <a:cxnLst>
                <a:cxn ang="0">
                  <a:pos x="T0" y="T1"/>
                </a:cxn>
                <a:cxn ang="0">
                  <a:pos x="T2" y="T3"/>
                </a:cxn>
              </a:cxnLst>
              <a:rect l="0" t="0" r="r" b="b"/>
              <a:pathLst>
                <a:path w="2458" h="754">
                  <a:moveTo>
                    <a:pt x="2458" y="0"/>
                  </a:moveTo>
                  <a:cubicBezTo>
                    <a:pt x="1867" y="685"/>
                    <a:pt x="643" y="754"/>
                    <a:pt x="0" y="0"/>
                  </a:cubicBezTo>
                </a:path>
              </a:pathLst>
            </a:custGeom>
            <a:grpFill/>
            <a:ln>
              <a:headEnd/>
              <a:tailEnd/>
            </a:ln>
          </p:spPr>
          <p:style>
            <a:lnRef idx="1">
              <a:schemeClr val="accent2"/>
            </a:lnRef>
            <a:fillRef idx="3">
              <a:schemeClr val="accent2"/>
            </a:fillRef>
            <a:effectRef idx="2">
              <a:schemeClr val="accent2"/>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sp>
          <p:nvSpPr>
            <p:cNvPr id="8" name="Freeform 6">
              <a:extLst>
                <a:ext uri="{FF2B5EF4-FFF2-40B4-BE49-F238E27FC236}">
                  <a16:creationId xmlns:a16="http://schemas.microsoft.com/office/drawing/2014/main" id="{A81E3155-5915-409B-90E4-B31EA160088C}"/>
                </a:ext>
              </a:extLst>
            </p:cNvPr>
            <p:cNvSpPr>
              <a:spLocks/>
            </p:cNvSpPr>
            <p:nvPr/>
          </p:nvSpPr>
          <p:spPr bwMode="auto">
            <a:xfrm>
              <a:off x="8799513" y="10075863"/>
              <a:ext cx="6784975" cy="2082800"/>
            </a:xfrm>
            <a:custGeom>
              <a:avLst/>
              <a:gdLst>
                <a:gd name="T0" fmla="*/ 2458 w 2458"/>
                <a:gd name="T1" fmla="*/ 0 h 754"/>
                <a:gd name="T2" fmla="*/ 0 w 2458"/>
                <a:gd name="T3" fmla="*/ 0 h 754"/>
              </a:gdLst>
              <a:ahLst/>
              <a:cxnLst>
                <a:cxn ang="0">
                  <a:pos x="T0" y="T1"/>
                </a:cxn>
                <a:cxn ang="0">
                  <a:pos x="T2" y="T3"/>
                </a:cxn>
              </a:cxnLst>
              <a:rect l="0" t="0" r="r" b="b"/>
              <a:pathLst>
                <a:path w="2458" h="754">
                  <a:moveTo>
                    <a:pt x="2458" y="0"/>
                  </a:moveTo>
                  <a:cubicBezTo>
                    <a:pt x="1867" y="685"/>
                    <a:pt x="643" y="754"/>
                    <a:pt x="0" y="0"/>
                  </a:cubicBezTo>
                </a:path>
              </a:pathLst>
            </a:custGeom>
            <a:grpFill/>
            <a:ln>
              <a:headEnd/>
              <a:tailEnd/>
            </a:ln>
          </p:spPr>
          <p:style>
            <a:lnRef idx="1">
              <a:schemeClr val="accent2"/>
            </a:lnRef>
            <a:fillRef idx="3">
              <a:schemeClr val="accent2"/>
            </a:fillRef>
            <a:effectRef idx="2">
              <a:schemeClr val="accent2"/>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sp>
          <p:nvSpPr>
            <p:cNvPr id="9" name="Oval 7">
              <a:extLst>
                <a:ext uri="{FF2B5EF4-FFF2-40B4-BE49-F238E27FC236}">
                  <a16:creationId xmlns:a16="http://schemas.microsoft.com/office/drawing/2014/main" id="{C0E4C83E-CCB9-4430-B843-7D0C3241C3EF}"/>
                </a:ext>
              </a:extLst>
            </p:cNvPr>
            <p:cNvSpPr>
              <a:spLocks noChangeArrowheads="1"/>
            </p:cNvSpPr>
            <p:nvPr/>
          </p:nvSpPr>
          <p:spPr bwMode="auto">
            <a:xfrm>
              <a:off x="8799513" y="9564688"/>
              <a:ext cx="6784975" cy="1019175"/>
            </a:xfrm>
            <a:prstGeom prst="ellipse">
              <a:avLst/>
            </a:prstGeom>
            <a:grpFill/>
            <a:ln>
              <a:headEnd/>
              <a:tailEnd/>
            </a:ln>
          </p:spPr>
          <p:style>
            <a:lnRef idx="1">
              <a:schemeClr val="accent2"/>
            </a:lnRef>
            <a:fillRef idx="3">
              <a:schemeClr val="accent2"/>
            </a:fillRef>
            <a:effectRef idx="2">
              <a:schemeClr val="accent2"/>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grpSp>
      <p:sp>
        <p:nvSpPr>
          <p:cNvPr id="10" name="Freeform 8">
            <a:extLst>
              <a:ext uri="{FF2B5EF4-FFF2-40B4-BE49-F238E27FC236}">
                <a16:creationId xmlns:a16="http://schemas.microsoft.com/office/drawing/2014/main" id="{BDDDCEBF-85BA-4C09-BF22-C4A230FBE30D}"/>
              </a:ext>
            </a:extLst>
          </p:cNvPr>
          <p:cNvSpPr>
            <a:spLocks/>
          </p:cNvSpPr>
          <p:nvPr/>
        </p:nvSpPr>
        <p:spPr bwMode="auto">
          <a:xfrm>
            <a:off x="4315221" y="3242249"/>
            <a:ext cx="3554416" cy="727460"/>
          </a:xfrm>
          <a:custGeom>
            <a:avLst/>
            <a:gdLst>
              <a:gd name="T0" fmla="*/ 3389 w 3428"/>
              <a:gd name="T1" fmla="*/ 89 h 701"/>
              <a:gd name="T2" fmla="*/ 3386 w 3428"/>
              <a:gd name="T3" fmla="*/ 85 h 701"/>
              <a:gd name="T4" fmla="*/ 49 w 3428"/>
              <a:gd name="T5" fmla="*/ 83 h 701"/>
              <a:gd name="T6" fmla="*/ 44 w 3428"/>
              <a:gd name="T7" fmla="*/ 88 h 701"/>
              <a:gd name="T8" fmla="*/ 26 w 3428"/>
              <a:gd name="T9" fmla="*/ 635 h 701"/>
              <a:gd name="T10" fmla="*/ 31 w 3428"/>
              <a:gd name="T11" fmla="*/ 638 h 701"/>
              <a:gd name="T12" fmla="*/ 3404 w 3428"/>
              <a:gd name="T13" fmla="*/ 637 h 701"/>
              <a:gd name="T14" fmla="*/ 3407 w 3428"/>
              <a:gd name="T15" fmla="*/ 634 h 701"/>
              <a:gd name="T16" fmla="*/ 3389 w 3428"/>
              <a:gd name="T17" fmla="*/ 8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8" h="701">
                <a:moveTo>
                  <a:pt x="3389" y="89"/>
                </a:moveTo>
                <a:cubicBezTo>
                  <a:pt x="3386" y="85"/>
                  <a:pt x="3386" y="85"/>
                  <a:pt x="3386" y="85"/>
                </a:cubicBezTo>
                <a:cubicBezTo>
                  <a:pt x="3205" y="6"/>
                  <a:pt x="290" y="0"/>
                  <a:pt x="49" y="83"/>
                </a:cubicBezTo>
                <a:cubicBezTo>
                  <a:pt x="44" y="88"/>
                  <a:pt x="44" y="88"/>
                  <a:pt x="44" y="88"/>
                </a:cubicBezTo>
                <a:cubicBezTo>
                  <a:pt x="0" y="360"/>
                  <a:pt x="10" y="469"/>
                  <a:pt x="26" y="635"/>
                </a:cubicBezTo>
                <a:cubicBezTo>
                  <a:pt x="31" y="638"/>
                  <a:pt x="31" y="638"/>
                  <a:pt x="31" y="638"/>
                </a:cubicBezTo>
                <a:cubicBezTo>
                  <a:pt x="243" y="693"/>
                  <a:pt x="3207" y="701"/>
                  <a:pt x="3404" y="637"/>
                </a:cubicBezTo>
                <a:cubicBezTo>
                  <a:pt x="3407" y="634"/>
                  <a:pt x="3407" y="634"/>
                  <a:pt x="3407" y="634"/>
                </a:cubicBezTo>
                <a:cubicBezTo>
                  <a:pt x="3427" y="424"/>
                  <a:pt x="3428" y="329"/>
                  <a:pt x="3389" y="89"/>
                </a:cubicBezTo>
                <a:close/>
              </a:path>
            </a:pathLst>
          </a:custGeom>
          <a:ln>
            <a:headEnd/>
            <a:tailEnd/>
          </a:ln>
        </p:spPr>
        <p:style>
          <a:lnRef idx="0">
            <a:schemeClr val="accent6"/>
          </a:lnRef>
          <a:fillRef idx="3">
            <a:schemeClr val="accent6"/>
          </a:fillRef>
          <a:effectRef idx="3">
            <a:schemeClr val="accent6"/>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grpSp>
        <p:nvGrpSpPr>
          <p:cNvPr id="20" name="Group 19">
            <a:extLst>
              <a:ext uri="{FF2B5EF4-FFF2-40B4-BE49-F238E27FC236}">
                <a16:creationId xmlns:a16="http://schemas.microsoft.com/office/drawing/2014/main" id="{01F16514-C31A-45A8-BE61-7B62762AF174}"/>
              </a:ext>
            </a:extLst>
          </p:cNvPr>
          <p:cNvGrpSpPr/>
          <p:nvPr/>
        </p:nvGrpSpPr>
        <p:grpSpPr>
          <a:xfrm>
            <a:off x="4386775" y="3993561"/>
            <a:ext cx="3417868" cy="986841"/>
            <a:chOff x="7645401" y="7705725"/>
            <a:chExt cx="9099550" cy="2627313"/>
          </a:xfrm>
        </p:grpSpPr>
        <p:sp>
          <p:nvSpPr>
            <p:cNvPr id="11" name="Freeform 9">
              <a:extLst>
                <a:ext uri="{FF2B5EF4-FFF2-40B4-BE49-F238E27FC236}">
                  <a16:creationId xmlns:a16="http://schemas.microsoft.com/office/drawing/2014/main" id="{9C6A1268-06E1-4D21-B722-652073F18A3E}"/>
                </a:ext>
              </a:extLst>
            </p:cNvPr>
            <p:cNvSpPr>
              <a:spLocks/>
            </p:cNvSpPr>
            <p:nvPr/>
          </p:nvSpPr>
          <p:spPr bwMode="auto">
            <a:xfrm>
              <a:off x="7645401" y="8042275"/>
              <a:ext cx="9099550" cy="2290763"/>
            </a:xfrm>
            <a:custGeom>
              <a:avLst/>
              <a:gdLst>
                <a:gd name="T0" fmla="*/ 0 w 3296"/>
                <a:gd name="T1" fmla="*/ 0 h 829"/>
                <a:gd name="T2" fmla="*/ 289 w 3296"/>
                <a:gd name="T3" fmla="*/ 600 h 829"/>
                <a:gd name="T4" fmla="*/ 2997 w 3296"/>
                <a:gd name="T5" fmla="*/ 608 h 829"/>
                <a:gd name="T6" fmla="*/ 3296 w 3296"/>
                <a:gd name="T7" fmla="*/ 0 h 829"/>
                <a:gd name="T8" fmla="*/ 0 w 3296"/>
                <a:gd name="T9" fmla="*/ 0 h 829"/>
              </a:gdLst>
              <a:ahLst/>
              <a:cxnLst>
                <a:cxn ang="0">
                  <a:pos x="T0" y="T1"/>
                </a:cxn>
                <a:cxn ang="0">
                  <a:pos x="T2" y="T3"/>
                </a:cxn>
                <a:cxn ang="0">
                  <a:pos x="T4" y="T5"/>
                </a:cxn>
                <a:cxn ang="0">
                  <a:pos x="T6" y="T7"/>
                </a:cxn>
                <a:cxn ang="0">
                  <a:pos x="T8" y="T9"/>
                </a:cxn>
              </a:cxnLst>
              <a:rect l="0" t="0" r="r" b="b"/>
              <a:pathLst>
                <a:path w="3296" h="829">
                  <a:moveTo>
                    <a:pt x="0" y="0"/>
                  </a:moveTo>
                  <a:cubicBezTo>
                    <a:pt x="55" y="220"/>
                    <a:pt x="153" y="422"/>
                    <a:pt x="289" y="600"/>
                  </a:cubicBezTo>
                  <a:cubicBezTo>
                    <a:pt x="555" y="799"/>
                    <a:pt x="2564" y="829"/>
                    <a:pt x="2997" y="608"/>
                  </a:cubicBezTo>
                  <a:cubicBezTo>
                    <a:pt x="3136" y="446"/>
                    <a:pt x="3234" y="241"/>
                    <a:pt x="3296" y="0"/>
                  </a:cubicBezTo>
                  <a:lnTo>
                    <a:pt x="0" y="0"/>
                  </a:lnTo>
                  <a:close/>
                </a:path>
              </a:pathLst>
            </a:custGeom>
            <a:ln>
              <a:headEnd/>
              <a:tailEnd/>
            </a:ln>
          </p:spPr>
          <p:style>
            <a:lnRef idx="0">
              <a:schemeClr val="accent2"/>
            </a:lnRef>
            <a:fillRef idx="3">
              <a:schemeClr val="accent2"/>
            </a:fillRef>
            <a:effectRef idx="3">
              <a:schemeClr val="accent2"/>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sp>
          <p:nvSpPr>
            <p:cNvPr id="12" name="Freeform 10">
              <a:extLst>
                <a:ext uri="{FF2B5EF4-FFF2-40B4-BE49-F238E27FC236}">
                  <a16:creationId xmlns:a16="http://schemas.microsoft.com/office/drawing/2014/main" id="{E537EBD3-BA5F-44E9-9C10-C69822E140AB}"/>
                </a:ext>
              </a:extLst>
            </p:cNvPr>
            <p:cNvSpPr>
              <a:spLocks/>
            </p:cNvSpPr>
            <p:nvPr/>
          </p:nvSpPr>
          <p:spPr bwMode="auto">
            <a:xfrm>
              <a:off x="7645401" y="7705725"/>
              <a:ext cx="9099550" cy="674688"/>
            </a:xfrm>
            <a:custGeom>
              <a:avLst/>
              <a:gdLst>
                <a:gd name="T0" fmla="*/ 3296 w 3296"/>
                <a:gd name="T1" fmla="*/ 122 h 244"/>
                <a:gd name="T2" fmla="*/ 0 w 3296"/>
                <a:gd name="T3" fmla="*/ 122 h 244"/>
                <a:gd name="T4" fmla="*/ 3296 w 3296"/>
                <a:gd name="T5" fmla="*/ 122 h 244"/>
              </a:gdLst>
              <a:ahLst/>
              <a:cxnLst>
                <a:cxn ang="0">
                  <a:pos x="T0" y="T1"/>
                </a:cxn>
                <a:cxn ang="0">
                  <a:pos x="T2" y="T3"/>
                </a:cxn>
                <a:cxn ang="0">
                  <a:pos x="T4" y="T5"/>
                </a:cxn>
              </a:cxnLst>
              <a:rect l="0" t="0" r="r" b="b"/>
              <a:pathLst>
                <a:path w="3296" h="244">
                  <a:moveTo>
                    <a:pt x="3296" y="122"/>
                  </a:moveTo>
                  <a:cubicBezTo>
                    <a:pt x="3296" y="244"/>
                    <a:pt x="0" y="244"/>
                    <a:pt x="0" y="122"/>
                  </a:cubicBezTo>
                  <a:cubicBezTo>
                    <a:pt x="0" y="0"/>
                    <a:pt x="3296" y="0"/>
                    <a:pt x="3296" y="122"/>
                  </a:cubicBezTo>
                  <a:close/>
                </a:path>
              </a:pathLst>
            </a:custGeom>
            <a:ln>
              <a:headEnd/>
              <a:tailEnd/>
            </a:ln>
          </p:spPr>
          <p:style>
            <a:lnRef idx="0">
              <a:schemeClr val="accent2"/>
            </a:lnRef>
            <a:fillRef idx="3">
              <a:schemeClr val="accent2"/>
            </a:fillRef>
            <a:effectRef idx="3">
              <a:schemeClr val="accent2"/>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grpSp>
      <p:grpSp>
        <p:nvGrpSpPr>
          <p:cNvPr id="18" name="Group 17">
            <a:extLst>
              <a:ext uri="{FF2B5EF4-FFF2-40B4-BE49-F238E27FC236}">
                <a16:creationId xmlns:a16="http://schemas.microsoft.com/office/drawing/2014/main" id="{B952CD31-27FB-4FCA-B6E9-4ECDEF4E4AF8}"/>
              </a:ext>
            </a:extLst>
          </p:cNvPr>
          <p:cNvGrpSpPr/>
          <p:nvPr/>
        </p:nvGrpSpPr>
        <p:grpSpPr>
          <a:xfrm>
            <a:off x="4900767" y="1749765"/>
            <a:ext cx="2387499" cy="903362"/>
            <a:chOff x="9013826" y="1731963"/>
            <a:chExt cx="6356350" cy="2405062"/>
          </a:xfrm>
        </p:grpSpPr>
        <p:sp>
          <p:nvSpPr>
            <p:cNvPr id="13" name="Freeform 11">
              <a:extLst>
                <a:ext uri="{FF2B5EF4-FFF2-40B4-BE49-F238E27FC236}">
                  <a16:creationId xmlns:a16="http://schemas.microsoft.com/office/drawing/2014/main" id="{58E832E6-5DBD-4125-A175-3BDC495FE295}"/>
                </a:ext>
              </a:extLst>
            </p:cNvPr>
            <p:cNvSpPr>
              <a:spLocks/>
            </p:cNvSpPr>
            <p:nvPr/>
          </p:nvSpPr>
          <p:spPr bwMode="auto">
            <a:xfrm>
              <a:off x="9013826" y="2762250"/>
              <a:ext cx="6356350" cy="1374775"/>
            </a:xfrm>
            <a:custGeom>
              <a:avLst/>
              <a:gdLst>
                <a:gd name="T0" fmla="*/ 4 w 2302"/>
                <a:gd name="T1" fmla="*/ 227 h 498"/>
                <a:gd name="T2" fmla="*/ 0 w 2302"/>
                <a:gd name="T3" fmla="*/ 238 h 498"/>
                <a:gd name="T4" fmla="*/ 1 w 2302"/>
                <a:gd name="T5" fmla="*/ 250 h 498"/>
                <a:gd name="T6" fmla="*/ 7 w 2302"/>
                <a:gd name="T7" fmla="*/ 261 h 498"/>
                <a:gd name="T8" fmla="*/ 2300 w 2302"/>
                <a:gd name="T9" fmla="*/ 253 h 498"/>
                <a:gd name="T10" fmla="*/ 2302 w 2302"/>
                <a:gd name="T11" fmla="*/ 242 h 498"/>
                <a:gd name="T12" fmla="*/ 2300 w 2302"/>
                <a:gd name="T13" fmla="*/ 230 h 498"/>
                <a:gd name="T14" fmla="*/ 4 w 2302"/>
                <a:gd name="T15" fmla="*/ 227 h 4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2" h="498">
                  <a:moveTo>
                    <a:pt x="4" y="227"/>
                  </a:moveTo>
                  <a:cubicBezTo>
                    <a:pt x="0" y="238"/>
                    <a:pt x="0" y="238"/>
                    <a:pt x="0" y="238"/>
                  </a:cubicBezTo>
                  <a:cubicBezTo>
                    <a:pt x="1" y="250"/>
                    <a:pt x="1" y="250"/>
                    <a:pt x="1" y="250"/>
                  </a:cubicBezTo>
                  <a:cubicBezTo>
                    <a:pt x="7" y="261"/>
                    <a:pt x="7" y="261"/>
                    <a:pt x="7" y="261"/>
                  </a:cubicBezTo>
                  <a:cubicBezTo>
                    <a:pt x="215" y="498"/>
                    <a:pt x="2182" y="444"/>
                    <a:pt x="2300" y="253"/>
                  </a:cubicBezTo>
                  <a:cubicBezTo>
                    <a:pt x="2302" y="242"/>
                    <a:pt x="2302" y="242"/>
                    <a:pt x="2302" y="242"/>
                  </a:cubicBezTo>
                  <a:cubicBezTo>
                    <a:pt x="2300" y="230"/>
                    <a:pt x="2300" y="230"/>
                    <a:pt x="2300" y="230"/>
                  </a:cubicBezTo>
                  <a:cubicBezTo>
                    <a:pt x="2169" y="8"/>
                    <a:pt x="171" y="0"/>
                    <a:pt x="4" y="227"/>
                  </a:cubicBezTo>
                  <a:close/>
                </a:path>
              </a:pathLst>
            </a:custGeom>
            <a:ln>
              <a:headEnd/>
              <a:tailEnd/>
            </a:ln>
          </p:spPr>
          <p:style>
            <a:lnRef idx="0">
              <a:schemeClr val="accent5"/>
            </a:lnRef>
            <a:fillRef idx="3">
              <a:schemeClr val="accent5"/>
            </a:fillRef>
            <a:effectRef idx="3">
              <a:schemeClr val="accent5"/>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sp>
          <p:nvSpPr>
            <p:cNvPr id="14" name="Freeform 12">
              <a:extLst>
                <a:ext uri="{FF2B5EF4-FFF2-40B4-BE49-F238E27FC236}">
                  <a16:creationId xmlns:a16="http://schemas.microsoft.com/office/drawing/2014/main" id="{D1E0684D-E707-465D-A2A5-6BEB00D5A4F0}"/>
                </a:ext>
              </a:extLst>
            </p:cNvPr>
            <p:cNvSpPr>
              <a:spLocks/>
            </p:cNvSpPr>
            <p:nvPr/>
          </p:nvSpPr>
          <p:spPr bwMode="auto">
            <a:xfrm>
              <a:off x="9086851" y="1731963"/>
              <a:ext cx="6180138" cy="1590675"/>
            </a:xfrm>
            <a:custGeom>
              <a:avLst/>
              <a:gdLst>
                <a:gd name="T0" fmla="*/ 2053 w 2239"/>
                <a:gd name="T1" fmla="*/ 428 h 576"/>
                <a:gd name="T2" fmla="*/ 1967 w 2239"/>
                <a:gd name="T3" fmla="*/ 374 h 576"/>
                <a:gd name="T4" fmla="*/ 0 w 2239"/>
                <a:gd name="T5" fmla="*/ 576 h 576"/>
                <a:gd name="T6" fmla="*/ 2239 w 2239"/>
                <a:gd name="T7" fmla="*/ 568 h 576"/>
                <a:gd name="T8" fmla="*/ 2053 w 2239"/>
                <a:gd name="T9" fmla="*/ 428 h 576"/>
              </a:gdLst>
              <a:ahLst/>
              <a:cxnLst>
                <a:cxn ang="0">
                  <a:pos x="T0" y="T1"/>
                </a:cxn>
                <a:cxn ang="0">
                  <a:pos x="T2" y="T3"/>
                </a:cxn>
                <a:cxn ang="0">
                  <a:pos x="T4" y="T5"/>
                </a:cxn>
                <a:cxn ang="0">
                  <a:pos x="T6" y="T7"/>
                </a:cxn>
                <a:cxn ang="0">
                  <a:pos x="T8" y="T9"/>
                </a:cxn>
              </a:cxnLst>
              <a:rect l="0" t="0" r="r" b="b"/>
              <a:pathLst>
                <a:path w="2239" h="576">
                  <a:moveTo>
                    <a:pt x="2053" y="428"/>
                  </a:moveTo>
                  <a:cubicBezTo>
                    <a:pt x="1998" y="390"/>
                    <a:pt x="1967" y="374"/>
                    <a:pt x="1967" y="374"/>
                  </a:cubicBezTo>
                  <a:cubicBezTo>
                    <a:pt x="1269" y="0"/>
                    <a:pt x="561" y="109"/>
                    <a:pt x="0" y="576"/>
                  </a:cubicBezTo>
                  <a:cubicBezTo>
                    <a:pt x="292" y="393"/>
                    <a:pt x="1888" y="382"/>
                    <a:pt x="2239" y="568"/>
                  </a:cubicBezTo>
                  <a:cubicBezTo>
                    <a:pt x="2151" y="492"/>
                    <a:pt x="2148" y="493"/>
                    <a:pt x="2053" y="428"/>
                  </a:cubicBezTo>
                  <a:close/>
                </a:path>
              </a:pathLst>
            </a:custGeom>
            <a:ln>
              <a:headEnd/>
              <a:tailEnd/>
            </a:ln>
          </p:spPr>
          <p:style>
            <a:lnRef idx="0">
              <a:schemeClr val="accent5"/>
            </a:lnRef>
            <a:fillRef idx="3">
              <a:schemeClr val="accent5"/>
            </a:fillRef>
            <a:effectRef idx="3">
              <a:schemeClr val="accent5"/>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grpSp>
      <p:grpSp>
        <p:nvGrpSpPr>
          <p:cNvPr id="19" name="Group 18">
            <a:extLst>
              <a:ext uri="{FF2B5EF4-FFF2-40B4-BE49-F238E27FC236}">
                <a16:creationId xmlns:a16="http://schemas.microsoft.com/office/drawing/2014/main" id="{C59E449F-58FB-45EC-A340-96728F8EFE10}"/>
              </a:ext>
            </a:extLst>
          </p:cNvPr>
          <p:cNvGrpSpPr/>
          <p:nvPr/>
        </p:nvGrpSpPr>
        <p:grpSpPr>
          <a:xfrm>
            <a:off x="4418974" y="2295359"/>
            <a:ext cx="3353470" cy="965971"/>
            <a:chOff x="7731126" y="3184525"/>
            <a:chExt cx="8928100" cy="2571750"/>
          </a:xfrm>
        </p:grpSpPr>
        <p:sp>
          <p:nvSpPr>
            <p:cNvPr id="15" name="Freeform 13">
              <a:extLst>
                <a:ext uri="{FF2B5EF4-FFF2-40B4-BE49-F238E27FC236}">
                  <a16:creationId xmlns:a16="http://schemas.microsoft.com/office/drawing/2014/main" id="{CE336DF9-27D6-406A-AD33-ACF92B675735}"/>
                </a:ext>
              </a:extLst>
            </p:cNvPr>
            <p:cNvSpPr>
              <a:spLocks/>
            </p:cNvSpPr>
            <p:nvPr/>
          </p:nvSpPr>
          <p:spPr bwMode="auto">
            <a:xfrm>
              <a:off x="7731126" y="3184525"/>
              <a:ext cx="8924925" cy="2184400"/>
            </a:xfrm>
            <a:custGeom>
              <a:avLst/>
              <a:gdLst>
                <a:gd name="T0" fmla="*/ 2705 w 3233"/>
                <a:gd name="T1" fmla="*/ 139 h 791"/>
                <a:gd name="T2" fmla="*/ 327 w 3233"/>
                <a:gd name="T3" fmla="*/ 215 h 791"/>
                <a:gd name="T4" fmla="*/ 0 w 3233"/>
                <a:gd name="T5" fmla="*/ 789 h 791"/>
                <a:gd name="T6" fmla="*/ 6 w 3233"/>
                <a:gd name="T7" fmla="*/ 782 h 791"/>
                <a:gd name="T8" fmla="*/ 3229 w 3233"/>
                <a:gd name="T9" fmla="*/ 784 h 791"/>
                <a:gd name="T10" fmla="*/ 3233 w 3233"/>
                <a:gd name="T11" fmla="*/ 791 h 791"/>
                <a:gd name="T12" fmla="*/ 2908 w 3233"/>
                <a:gd name="T13" fmla="*/ 218 h 791"/>
                <a:gd name="T14" fmla="*/ 2705 w 3233"/>
                <a:gd name="T15" fmla="*/ 139 h 7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33" h="791">
                  <a:moveTo>
                    <a:pt x="2705" y="139"/>
                  </a:moveTo>
                  <a:cubicBezTo>
                    <a:pt x="2000" y="0"/>
                    <a:pt x="523" y="49"/>
                    <a:pt x="327" y="215"/>
                  </a:cubicBezTo>
                  <a:cubicBezTo>
                    <a:pt x="176" y="403"/>
                    <a:pt x="99" y="521"/>
                    <a:pt x="0" y="789"/>
                  </a:cubicBezTo>
                  <a:cubicBezTo>
                    <a:pt x="6" y="782"/>
                    <a:pt x="6" y="782"/>
                    <a:pt x="6" y="782"/>
                  </a:cubicBezTo>
                  <a:cubicBezTo>
                    <a:pt x="281" y="632"/>
                    <a:pt x="3072" y="678"/>
                    <a:pt x="3229" y="784"/>
                  </a:cubicBezTo>
                  <a:cubicBezTo>
                    <a:pt x="3233" y="791"/>
                    <a:pt x="3233" y="791"/>
                    <a:pt x="3233" y="791"/>
                  </a:cubicBezTo>
                  <a:cubicBezTo>
                    <a:pt x="3158" y="589"/>
                    <a:pt x="3098" y="453"/>
                    <a:pt x="2908" y="218"/>
                  </a:cubicBezTo>
                  <a:cubicBezTo>
                    <a:pt x="2864" y="174"/>
                    <a:pt x="2770" y="154"/>
                    <a:pt x="2705" y="139"/>
                  </a:cubicBezTo>
                </a:path>
              </a:pathLst>
            </a:custGeom>
            <a:ln>
              <a:headEnd/>
              <a:tailEnd/>
            </a:ln>
          </p:spPr>
          <p:style>
            <a:lnRef idx="1">
              <a:schemeClr val="accent1"/>
            </a:lnRef>
            <a:fillRef idx="3">
              <a:schemeClr val="accent1"/>
            </a:fillRef>
            <a:effectRef idx="2">
              <a:schemeClr val="accent1"/>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sp>
          <p:nvSpPr>
            <p:cNvPr id="16" name="Freeform 14">
              <a:extLst>
                <a:ext uri="{FF2B5EF4-FFF2-40B4-BE49-F238E27FC236}">
                  <a16:creationId xmlns:a16="http://schemas.microsoft.com/office/drawing/2014/main" id="{B563E405-9722-4A70-9E8E-8E4ED666903F}"/>
                </a:ext>
              </a:extLst>
            </p:cNvPr>
            <p:cNvSpPr>
              <a:spLocks/>
            </p:cNvSpPr>
            <p:nvPr/>
          </p:nvSpPr>
          <p:spPr bwMode="auto">
            <a:xfrm>
              <a:off x="7731126" y="3184525"/>
              <a:ext cx="8924925" cy="2184400"/>
            </a:xfrm>
            <a:custGeom>
              <a:avLst/>
              <a:gdLst>
                <a:gd name="T0" fmla="*/ 2705 w 3233"/>
                <a:gd name="T1" fmla="*/ 139 h 791"/>
                <a:gd name="T2" fmla="*/ 327 w 3233"/>
                <a:gd name="T3" fmla="*/ 215 h 791"/>
                <a:gd name="T4" fmla="*/ 0 w 3233"/>
                <a:gd name="T5" fmla="*/ 789 h 791"/>
                <a:gd name="T6" fmla="*/ 6 w 3233"/>
                <a:gd name="T7" fmla="*/ 782 h 791"/>
                <a:gd name="T8" fmla="*/ 3229 w 3233"/>
                <a:gd name="T9" fmla="*/ 784 h 791"/>
                <a:gd name="T10" fmla="*/ 3233 w 3233"/>
                <a:gd name="T11" fmla="*/ 791 h 791"/>
                <a:gd name="T12" fmla="*/ 2908 w 3233"/>
                <a:gd name="T13" fmla="*/ 218 h 791"/>
                <a:gd name="T14" fmla="*/ 2705 w 3233"/>
                <a:gd name="T15" fmla="*/ 139 h 7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33" h="791">
                  <a:moveTo>
                    <a:pt x="2705" y="139"/>
                  </a:moveTo>
                  <a:cubicBezTo>
                    <a:pt x="2000" y="0"/>
                    <a:pt x="523" y="49"/>
                    <a:pt x="327" y="215"/>
                  </a:cubicBezTo>
                  <a:cubicBezTo>
                    <a:pt x="176" y="403"/>
                    <a:pt x="99" y="521"/>
                    <a:pt x="0" y="789"/>
                  </a:cubicBezTo>
                  <a:cubicBezTo>
                    <a:pt x="6" y="782"/>
                    <a:pt x="6" y="782"/>
                    <a:pt x="6" y="782"/>
                  </a:cubicBezTo>
                  <a:cubicBezTo>
                    <a:pt x="281" y="632"/>
                    <a:pt x="3072" y="678"/>
                    <a:pt x="3229" y="784"/>
                  </a:cubicBezTo>
                  <a:cubicBezTo>
                    <a:pt x="3233" y="791"/>
                    <a:pt x="3233" y="791"/>
                    <a:pt x="3233" y="791"/>
                  </a:cubicBezTo>
                  <a:cubicBezTo>
                    <a:pt x="3158" y="589"/>
                    <a:pt x="3098" y="453"/>
                    <a:pt x="2908" y="218"/>
                  </a:cubicBezTo>
                  <a:cubicBezTo>
                    <a:pt x="2864" y="174"/>
                    <a:pt x="2770" y="154"/>
                    <a:pt x="2705" y="139"/>
                  </a:cubicBezTo>
                </a:path>
              </a:pathLst>
            </a:custGeom>
            <a:ln>
              <a:headEnd/>
              <a:tailEnd/>
            </a:ln>
          </p:spPr>
          <p:style>
            <a:lnRef idx="1">
              <a:schemeClr val="accent1"/>
            </a:lnRef>
            <a:fillRef idx="3">
              <a:schemeClr val="accent1"/>
            </a:fillRef>
            <a:effectRef idx="2">
              <a:schemeClr val="accent1"/>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sp>
          <p:nvSpPr>
            <p:cNvPr id="17" name="Freeform 15">
              <a:extLst>
                <a:ext uri="{FF2B5EF4-FFF2-40B4-BE49-F238E27FC236}">
                  <a16:creationId xmlns:a16="http://schemas.microsoft.com/office/drawing/2014/main" id="{A0F57FEC-0F1B-49C8-8CBA-DC88A99CA780}"/>
                </a:ext>
              </a:extLst>
            </p:cNvPr>
            <p:cNvSpPr>
              <a:spLocks/>
            </p:cNvSpPr>
            <p:nvPr/>
          </p:nvSpPr>
          <p:spPr bwMode="auto">
            <a:xfrm>
              <a:off x="7731126" y="5076825"/>
              <a:ext cx="8928100" cy="679450"/>
            </a:xfrm>
            <a:custGeom>
              <a:avLst/>
              <a:gdLst>
                <a:gd name="T0" fmla="*/ 3234 w 3234"/>
                <a:gd name="T1" fmla="*/ 106 h 246"/>
                <a:gd name="T2" fmla="*/ 0 w 3234"/>
                <a:gd name="T3" fmla="*/ 106 h 246"/>
                <a:gd name="T4" fmla="*/ 1617 w 3234"/>
                <a:gd name="T5" fmla="*/ 0 h 246"/>
                <a:gd name="T6" fmla="*/ 3234 w 3234"/>
                <a:gd name="T7" fmla="*/ 106 h 246"/>
              </a:gdLst>
              <a:ahLst/>
              <a:cxnLst>
                <a:cxn ang="0">
                  <a:pos x="T0" y="T1"/>
                </a:cxn>
                <a:cxn ang="0">
                  <a:pos x="T2" y="T3"/>
                </a:cxn>
                <a:cxn ang="0">
                  <a:pos x="T4" y="T5"/>
                </a:cxn>
                <a:cxn ang="0">
                  <a:pos x="T6" y="T7"/>
                </a:cxn>
              </a:cxnLst>
              <a:rect l="0" t="0" r="r" b="b"/>
              <a:pathLst>
                <a:path w="3234" h="246">
                  <a:moveTo>
                    <a:pt x="3234" y="106"/>
                  </a:moveTo>
                  <a:cubicBezTo>
                    <a:pt x="3234" y="246"/>
                    <a:pt x="0" y="246"/>
                    <a:pt x="0" y="106"/>
                  </a:cubicBezTo>
                  <a:cubicBezTo>
                    <a:pt x="0" y="48"/>
                    <a:pt x="724" y="0"/>
                    <a:pt x="1617" y="0"/>
                  </a:cubicBezTo>
                  <a:cubicBezTo>
                    <a:pt x="2510" y="0"/>
                    <a:pt x="3234" y="48"/>
                    <a:pt x="3234" y="106"/>
                  </a:cubicBezTo>
                  <a:close/>
                </a:path>
              </a:pathLst>
            </a:custGeom>
            <a:ln>
              <a:headEnd/>
              <a:tailEnd/>
            </a:ln>
          </p:spPr>
          <p:style>
            <a:lnRef idx="1">
              <a:schemeClr val="accent1"/>
            </a:lnRef>
            <a:fillRef idx="3">
              <a:schemeClr val="accent1"/>
            </a:fillRef>
            <a:effectRef idx="2">
              <a:schemeClr val="accent1"/>
            </a:effectRef>
            <a:fontRef idx="minor">
              <a:schemeClr val="lt1"/>
            </a:fontRef>
          </p:style>
          <p:txBody>
            <a:bodyPr vert="horz" wrap="square" lIns="45714" tIns="22857" rIns="45714" bIns="22857" numCol="1" anchor="t" anchorCtr="0" compatLnSpc="1">
              <a:prstTxWarp prst="textNoShape">
                <a:avLst/>
              </a:prstTxWarp>
            </a:bodyPr>
            <a:lstStyle/>
            <a:p>
              <a:endParaRPr lang="nb-NO" sz="900" dirty="0">
                <a:latin typeface="Microsoft YaHei UI Light" panose="020B0502040204020203" pitchFamily="34" charset="-122"/>
                <a:ea typeface="Microsoft YaHei UI Light" panose="020B0502040204020203" pitchFamily="34" charset="-122"/>
              </a:endParaRPr>
            </a:p>
          </p:txBody>
        </p:sp>
      </p:grpSp>
      <p:sp>
        <p:nvSpPr>
          <p:cNvPr id="22" name="Oval 21">
            <a:extLst>
              <a:ext uri="{FF2B5EF4-FFF2-40B4-BE49-F238E27FC236}">
                <a16:creationId xmlns:a16="http://schemas.microsoft.com/office/drawing/2014/main" id="{4CC077BD-4A81-404B-9693-F5853552401B}"/>
              </a:ext>
            </a:extLst>
          </p:cNvPr>
          <p:cNvSpPr/>
          <p:nvPr/>
        </p:nvSpPr>
        <p:spPr>
          <a:xfrm>
            <a:off x="8660283" y="1703667"/>
            <a:ext cx="584699" cy="584699"/>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nb-NO" sz="3599" dirty="0">
                <a:latin typeface="Microsoft YaHei UI Light" panose="020B0502040204020203" pitchFamily="34" charset="-122"/>
                <a:ea typeface="Microsoft YaHei UI Light" panose="020B0502040204020203" pitchFamily="34" charset="-122"/>
                <a:cs typeface="Arial" panose="020B0604020202020204" pitchFamily="34" charset="0"/>
              </a:rPr>
              <a:t>h</a:t>
            </a:r>
          </a:p>
        </p:txBody>
      </p:sp>
      <p:sp>
        <p:nvSpPr>
          <p:cNvPr id="23" name="Rectangle 22">
            <a:extLst>
              <a:ext uri="{FF2B5EF4-FFF2-40B4-BE49-F238E27FC236}">
                <a16:creationId xmlns:a16="http://schemas.microsoft.com/office/drawing/2014/main" id="{312FB761-2C17-4C2B-8138-21EF9C90369F}"/>
              </a:ext>
            </a:extLst>
          </p:cNvPr>
          <p:cNvSpPr/>
          <p:nvPr/>
        </p:nvSpPr>
        <p:spPr>
          <a:xfrm flipH="1">
            <a:off x="9447401" y="1510265"/>
            <a:ext cx="2597618" cy="886718"/>
          </a:xfrm>
          <a:prstGeom prst="rect">
            <a:avLst/>
          </a:prstGeom>
        </p:spPr>
        <p:txBody>
          <a:bodyPr wrap="square">
            <a:spAutoFit/>
          </a:bodyPr>
          <a:lstStyle/>
          <a:p>
            <a:pPr>
              <a:lnSpc>
                <a:spcPct val="89000"/>
              </a:lnSpc>
            </a:pPr>
            <a:r>
              <a:rPr lang="nb-NO" dirty="0">
                <a:solidFill>
                  <a:schemeClr val="tx1">
                    <a:lumMod val="90000"/>
                    <a:lumOff val="10000"/>
                  </a:schemeClr>
                </a:solidFill>
                <a:latin typeface="Microsoft YaHei UI Light" panose="020B0502040204020203" pitchFamily="34" charset="-122"/>
                <a:ea typeface="Microsoft YaHei UI Light" panose="020B0502040204020203" pitchFamily="34" charset="-122"/>
              </a:rPr>
              <a:t>Helsenorge.no</a:t>
            </a:r>
          </a:p>
          <a:p>
            <a:pPr>
              <a:lnSpc>
                <a:spcPct val="89000"/>
              </a:lnSpc>
            </a:pP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a:p>
            <a:pPr>
              <a:lnSpc>
                <a:spcPct val="89000"/>
              </a:lnSpc>
            </a:pPr>
            <a:r>
              <a:rPr lang="nb-NO" sz="1000" dirty="0">
                <a:latin typeface="Microsoft YaHei UI Light" panose="020B0502040204020203" pitchFamily="34" charset="-122"/>
                <a:ea typeface="Microsoft YaHei UI Light" panose="020B0502040204020203" pitchFamily="34" charset="-122"/>
              </a:rPr>
              <a:t>Publikumsportalen til helsenorge.no viser data som kliniske studier og pasientinformasjon fra databasen</a:t>
            </a: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p:txBody>
      </p:sp>
      <p:sp>
        <p:nvSpPr>
          <p:cNvPr id="24" name="Oval 23">
            <a:extLst>
              <a:ext uri="{FF2B5EF4-FFF2-40B4-BE49-F238E27FC236}">
                <a16:creationId xmlns:a16="http://schemas.microsoft.com/office/drawing/2014/main" id="{247D9ED4-9051-4A97-AE8A-083B4F3CD82B}"/>
              </a:ext>
            </a:extLst>
          </p:cNvPr>
          <p:cNvSpPr/>
          <p:nvPr/>
        </p:nvSpPr>
        <p:spPr>
          <a:xfrm>
            <a:off x="8978648" y="3335215"/>
            <a:ext cx="584699" cy="58469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3599" dirty="0">
                <a:latin typeface="Microsoft YaHei UI Light" panose="020B0502040204020203" pitchFamily="34" charset="-122"/>
                <a:ea typeface="Microsoft YaHei UI Light" panose="020B0502040204020203" pitchFamily="34" charset="-122"/>
                <a:cs typeface="Arial" panose="020B0604020202020204" pitchFamily="34" charset="0"/>
              </a:rPr>
              <a:t>d</a:t>
            </a:r>
          </a:p>
        </p:txBody>
      </p:sp>
      <p:sp>
        <p:nvSpPr>
          <p:cNvPr id="25" name="Rectangle 24">
            <a:extLst>
              <a:ext uri="{FF2B5EF4-FFF2-40B4-BE49-F238E27FC236}">
                <a16:creationId xmlns:a16="http://schemas.microsoft.com/office/drawing/2014/main" id="{170C3A17-AF15-49E7-BC57-9E5DF10EFABE}"/>
              </a:ext>
            </a:extLst>
          </p:cNvPr>
          <p:cNvSpPr/>
          <p:nvPr/>
        </p:nvSpPr>
        <p:spPr>
          <a:xfrm flipH="1">
            <a:off x="9731142" y="3244126"/>
            <a:ext cx="2084669" cy="749757"/>
          </a:xfrm>
          <a:prstGeom prst="rect">
            <a:avLst/>
          </a:prstGeom>
        </p:spPr>
        <p:txBody>
          <a:bodyPr wrap="square">
            <a:spAutoFit/>
          </a:bodyPr>
          <a:lstStyle/>
          <a:p>
            <a:pPr>
              <a:lnSpc>
                <a:spcPct val="89000"/>
              </a:lnSpc>
            </a:pPr>
            <a:r>
              <a:rPr lang="nb-NO" dirty="0">
                <a:solidFill>
                  <a:schemeClr val="tx1">
                    <a:lumMod val="90000"/>
                    <a:lumOff val="10000"/>
                  </a:schemeClr>
                </a:solidFill>
                <a:latin typeface="Microsoft YaHei UI Light" panose="020B0502040204020203" pitchFamily="34" charset="-122"/>
                <a:ea typeface="Microsoft YaHei UI Light" panose="020B0502040204020203" pitchFamily="34" charset="-122"/>
              </a:rPr>
              <a:t>Database</a:t>
            </a:r>
          </a:p>
          <a:p>
            <a:pPr>
              <a:lnSpc>
                <a:spcPct val="89000"/>
              </a:lnSpc>
            </a:pP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a:p>
            <a:pPr>
              <a:lnSpc>
                <a:spcPct val="89000"/>
              </a:lnSpc>
            </a:pPr>
            <a:r>
              <a:rPr lang="nb-NO" sz="1000" dirty="0">
                <a:latin typeface="Microsoft YaHei UI Light" panose="020B0502040204020203" pitchFamily="34" charset="-122"/>
                <a:ea typeface="Microsoft YaHei UI Light" panose="020B0502040204020203" pitchFamily="34" charset="-122"/>
              </a:rPr>
              <a:t>Databasen deler nasjonal og lokal informasjon ut i alle kanaler</a:t>
            </a: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p:txBody>
      </p:sp>
      <p:sp>
        <p:nvSpPr>
          <p:cNvPr id="26" name="Oval 25">
            <a:extLst>
              <a:ext uri="{FF2B5EF4-FFF2-40B4-BE49-F238E27FC236}">
                <a16:creationId xmlns:a16="http://schemas.microsoft.com/office/drawing/2014/main" id="{B339F145-5B22-4779-9E3B-7E4AB93B85F8}"/>
              </a:ext>
            </a:extLst>
          </p:cNvPr>
          <p:cNvSpPr/>
          <p:nvPr/>
        </p:nvSpPr>
        <p:spPr>
          <a:xfrm>
            <a:off x="8186326" y="5019203"/>
            <a:ext cx="584699" cy="584699"/>
          </a:xfrm>
          <a:prstGeom prst="ellipse">
            <a:avLst/>
          </a:prstGeom>
          <a:solidFill>
            <a:schemeClr val="accent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3599" dirty="0">
                <a:latin typeface="Microsoft YaHei UI Light" panose="020B0502040204020203" pitchFamily="34" charset="-122"/>
                <a:ea typeface="Microsoft YaHei UI Light" panose="020B0502040204020203" pitchFamily="34" charset="-122"/>
                <a:cs typeface="Arial" panose="020B0604020202020204" pitchFamily="34" charset="0"/>
              </a:rPr>
              <a:t>b</a:t>
            </a:r>
          </a:p>
        </p:txBody>
      </p:sp>
      <p:sp>
        <p:nvSpPr>
          <p:cNvPr id="27" name="Rectangle 26">
            <a:extLst>
              <a:ext uri="{FF2B5EF4-FFF2-40B4-BE49-F238E27FC236}">
                <a16:creationId xmlns:a16="http://schemas.microsoft.com/office/drawing/2014/main" id="{5A97CA5D-5CE6-41AC-98AE-F019F717FCE4}"/>
              </a:ext>
            </a:extLst>
          </p:cNvPr>
          <p:cNvSpPr/>
          <p:nvPr/>
        </p:nvSpPr>
        <p:spPr>
          <a:xfrm flipH="1">
            <a:off x="8948367" y="4868194"/>
            <a:ext cx="2084669" cy="886718"/>
          </a:xfrm>
          <a:prstGeom prst="rect">
            <a:avLst/>
          </a:prstGeom>
        </p:spPr>
        <p:txBody>
          <a:bodyPr wrap="square">
            <a:spAutoFit/>
          </a:bodyPr>
          <a:lstStyle/>
          <a:p>
            <a:pPr>
              <a:lnSpc>
                <a:spcPct val="89000"/>
              </a:lnSpc>
            </a:pPr>
            <a:r>
              <a:rPr lang="nb-NO" dirty="0">
                <a:solidFill>
                  <a:schemeClr val="tx1">
                    <a:lumMod val="90000"/>
                    <a:lumOff val="10000"/>
                  </a:schemeClr>
                </a:solidFill>
                <a:latin typeface="Microsoft YaHei UI Light" panose="020B0502040204020203" pitchFamily="34" charset="-122"/>
                <a:ea typeface="Microsoft YaHei UI Light" panose="020B0502040204020203" pitchFamily="34" charset="-122"/>
              </a:rPr>
              <a:t>Brev</a:t>
            </a:r>
          </a:p>
          <a:p>
            <a:pPr>
              <a:lnSpc>
                <a:spcPct val="89000"/>
              </a:lnSpc>
            </a:pP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a:p>
            <a:pPr>
              <a:lnSpc>
                <a:spcPct val="89000"/>
              </a:lnSpc>
            </a:pPr>
            <a:r>
              <a:rPr lang="nb-NO" sz="1000" dirty="0">
                <a:latin typeface="Microsoft YaHei UI Light" panose="020B0502040204020203" pitchFamily="34" charset="-122"/>
                <a:ea typeface="Microsoft YaHei UI Light" panose="020B0502040204020203" pitchFamily="34" charset="-122"/>
              </a:rPr>
              <a:t>Brev og andre tjenester kan inneholde informasjon hentet ut fra databasen</a:t>
            </a: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p:txBody>
      </p:sp>
      <p:sp>
        <p:nvSpPr>
          <p:cNvPr id="46" name="Oval 45">
            <a:extLst>
              <a:ext uri="{FF2B5EF4-FFF2-40B4-BE49-F238E27FC236}">
                <a16:creationId xmlns:a16="http://schemas.microsoft.com/office/drawing/2014/main" id="{5F8C7E39-F4F4-454B-8014-9FECFC856B39}"/>
              </a:ext>
            </a:extLst>
          </p:cNvPr>
          <p:cNvSpPr/>
          <p:nvPr/>
        </p:nvSpPr>
        <p:spPr>
          <a:xfrm flipH="1">
            <a:off x="2932462" y="2054089"/>
            <a:ext cx="584699" cy="58469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3599" dirty="0">
                <a:latin typeface="Microsoft YaHei UI Light" panose="020B0502040204020203" pitchFamily="34" charset="-122"/>
                <a:ea typeface="Microsoft YaHei UI Light" panose="020B0502040204020203" pitchFamily="34" charset="-122"/>
                <a:cs typeface="Arial" panose="020B0604020202020204" pitchFamily="34" charset="0"/>
              </a:rPr>
              <a:t>f</a:t>
            </a:r>
          </a:p>
        </p:txBody>
      </p:sp>
      <p:sp>
        <p:nvSpPr>
          <p:cNvPr id="47" name="Rectangle 46">
            <a:extLst>
              <a:ext uri="{FF2B5EF4-FFF2-40B4-BE49-F238E27FC236}">
                <a16:creationId xmlns:a16="http://schemas.microsoft.com/office/drawing/2014/main" id="{4C883BAE-E835-4DC9-A44E-0FE03882E29B}"/>
              </a:ext>
            </a:extLst>
          </p:cNvPr>
          <p:cNvSpPr/>
          <p:nvPr/>
        </p:nvSpPr>
        <p:spPr>
          <a:xfrm>
            <a:off x="218754" y="1903080"/>
            <a:ext cx="2597618" cy="1105816"/>
          </a:xfrm>
          <a:prstGeom prst="rect">
            <a:avLst/>
          </a:prstGeom>
        </p:spPr>
        <p:txBody>
          <a:bodyPr wrap="square">
            <a:spAutoFit/>
          </a:bodyPr>
          <a:lstStyle/>
          <a:p>
            <a:pPr algn="r">
              <a:lnSpc>
                <a:spcPct val="89000"/>
              </a:lnSpc>
            </a:pPr>
            <a:r>
              <a:rPr lang="nb-NO" dirty="0">
                <a:solidFill>
                  <a:schemeClr val="tx1">
                    <a:lumMod val="90000"/>
                    <a:lumOff val="10000"/>
                  </a:schemeClr>
                </a:solidFill>
                <a:latin typeface="Microsoft YaHei UI Light" panose="020B0502040204020203" pitchFamily="34" charset="-122"/>
                <a:ea typeface="Microsoft YaHei UI Light" panose="020B0502040204020203" pitchFamily="34" charset="-122"/>
              </a:rPr>
              <a:t>Nettsider</a:t>
            </a:r>
          </a:p>
          <a:p>
            <a:pPr algn="r">
              <a:lnSpc>
                <a:spcPct val="89000"/>
              </a:lnSpc>
            </a:pP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a:p>
            <a:pPr algn="r">
              <a:lnSpc>
                <a:spcPct val="89000"/>
              </a:lnSpc>
            </a:pPr>
            <a:r>
              <a:rPr lang="nb-NO" sz="1000" dirty="0">
                <a:latin typeface="Microsoft YaHei UI Light" panose="020B0502040204020203" pitchFamily="34" charset="-122"/>
                <a:ea typeface="Microsoft YaHei UI Light" panose="020B0502040204020203" pitchFamily="34" charset="-122"/>
              </a:rPr>
              <a:t>Innbygger har tilgang til informasjon på nettsidene våre. Informasjonen er en blanding av innhold skrevet rett i publiseringsverktøyet og pasientinformasjon hentet fra databasen</a:t>
            </a: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p:txBody>
      </p:sp>
      <p:sp>
        <p:nvSpPr>
          <p:cNvPr id="48" name="Oval 47">
            <a:extLst>
              <a:ext uri="{FF2B5EF4-FFF2-40B4-BE49-F238E27FC236}">
                <a16:creationId xmlns:a16="http://schemas.microsoft.com/office/drawing/2014/main" id="{3D8C60A6-759C-4E88-AAA1-B505252CD17C}"/>
              </a:ext>
            </a:extLst>
          </p:cNvPr>
          <p:cNvSpPr/>
          <p:nvPr/>
        </p:nvSpPr>
        <p:spPr>
          <a:xfrm flipH="1">
            <a:off x="2790289" y="4461580"/>
            <a:ext cx="584699" cy="584699"/>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3599" dirty="0">
                <a:latin typeface="Microsoft YaHei UI Light" panose="020B0502040204020203" pitchFamily="34" charset="-122"/>
                <a:ea typeface="Microsoft YaHei UI Light" panose="020B0502040204020203" pitchFamily="34" charset="-122"/>
                <a:cs typeface="Arial" panose="020B0604020202020204" pitchFamily="34" charset="0"/>
              </a:rPr>
              <a:t>t</a:t>
            </a:r>
          </a:p>
        </p:txBody>
      </p:sp>
      <p:sp>
        <p:nvSpPr>
          <p:cNvPr id="49" name="Rectangle 48">
            <a:extLst>
              <a:ext uri="{FF2B5EF4-FFF2-40B4-BE49-F238E27FC236}">
                <a16:creationId xmlns:a16="http://schemas.microsoft.com/office/drawing/2014/main" id="{95461273-F9E1-4830-8CEC-AE0A52D2E8EF}"/>
              </a:ext>
            </a:extLst>
          </p:cNvPr>
          <p:cNvSpPr/>
          <p:nvPr/>
        </p:nvSpPr>
        <p:spPr>
          <a:xfrm>
            <a:off x="447961" y="4273757"/>
            <a:ext cx="2084669" cy="1242776"/>
          </a:xfrm>
          <a:prstGeom prst="rect">
            <a:avLst/>
          </a:prstGeom>
        </p:spPr>
        <p:txBody>
          <a:bodyPr wrap="square">
            <a:spAutoFit/>
          </a:bodyPr>
          <a:lstStyle/>
          <a:p>
            <a:pPr algn="r">
              <a:lnSpc>
                <a:spcPct val="89000"/>
              </a:lnSpc>
            </a:pPr>
            <a:r>
              <a:rPr lang="nb-NO" dirty="0">
                <a:solidFill>
                  <a:schemeClr val="tx1">
                    <a:lumMod val="90000"/>
                    <a:lumOff val="10000"/>
                  </a:schemeClr>
                </a:solidFill>
                <a:latin typeface="Microsoft YaHei UI Light" panose="020B0502040204020203" pitchFamily="34" charset="-122"/>
                <a:ea typeface="Microsoft YaHei UI Light" panose="020B0502040204020203" pitchFamily="34" charset="-122"/>
              </a:rPr>
              <a:t>Tjenester</a:t>
            </a:r>
          </a:p>
          <a:p>
            <a:pPr algn="r">
              <a:lnSpc>
                <a:spcPct val="89000"/>
              </a:lnSpc>
            </a:pP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a:p>
            <a:pPr algn="r">
              <a:lnSpc>
                <a:spcPct val="89000"/>
              </a:lnSpc>
            </a:pPr>
            <a:r>
              <a:rPr lang="nb-NO" sz="1000" dirty="0">
                <a:latin typeface="Microsoft YaHei UI Light" panose="020B0502040204020203" pitchFamily="34" charset="-122"/>
                <a:ea typeface="Microsoft YaHei UI Light" panose="020B0502040204020203" pitchFamily="34" charset="-122"/>
              </a:rPr>
              <a:t>Når man logger på helsenorge.no eller </a:t>
            </a:r>
            <a:r>
              <a:rPr lang="nb-NO" sz="1000" dirty="0" err="1">
                <a:latin typeface="Microsoft YaHei UI Light" panose="020B0502040204020203" pitchFamily="34" charset="-122"/>
                <a:ea typeface="Microsoft YaHei UI Light" panose="020B0502040204020203" pitchFamily="34" charset="-122"/>
              </a:rPr>
              <a:t>Helsami</a:t>
            </a:r>
            <a:r>
              <a:rPr lang="nb-NO" sz="1000" dirty="0">
                <a:latin typeface="Microsoft YaHei UI Light" panose="020B0502040204020203" pitchFamily="34" charset="-122"/>
                <a:ea typeface="Microsoft YaHei UI Light" panose="020B0502040204020203" pitchFamily="34" charset="-122"/>
              </a:rPr>
              <a:t> i Helse Midt kan man få persontilpasset informasjon gjennom relevante utdrag fra databasen</a:t>
            </a:r>
            <a:endParaRPr lang="nb-NO" sz="1000"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p:txBody>
      </p:sp>
      <p:sp>
        <p:nvSpPr>
          <p:cNvPr id="51" name="Title 1">
            <a:extLst>
              <a:ext uri="{FF2B5EF4-FFF2-40B4-BE49-F238E27FC236}">
                <a16:creationId xmlns:a16="http://schemas.microsoft.com/office/drawing/2014/main" id="{B3FDFC74-50C4-457B-849E-DE3FEC434AD8}"/>
              </a:ext>
            </a:extLst>
          </p:cNvPr>
          <p:cNvSpPr txBox="1">
            <a:spLocks/>
          </p:cNvSpPr>
          <p:nvPr/>
        </p:nvSpPr>
        <p:spPr>
          <a:xfrm>
            <a:off x="344329" y="165566"/>
            <a:ext cx="6902580" cy="68666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199" dirty="0">
                <a:solidFill>
                  <a:schemeClr val="tx1">
                    <a:lumMod val="90000"/>
                    <a:lumOff val="10000"/>
                  </a:schemeClr>
                </a:solidFill>
                <a:latin typeface="Microsoft YaHei UI" panose="020B0503020204020204" pitchFamily="34" charset="-122"/>
                <a:ea typeface="Microsoft YaHei UI" panose="020B0503020204020204" pitchFamily="34" charset="-122"/>
              </a:rPr>
              <a:t>Skille mellom innhold og tjenester</a:t>
            </a:r>
          </a:p>
          <a:p>
            <a:r>
              <a:rPr lang="nb-NO" sz="1600" dirty="0">
                <a:latin typeface="Microsoft YaHei UI Light" panose="020B0502040204020203" pitchFamily="34" charset="-122"/>
                <a:ea typeface="Microsoft YaHei UI Light" panose="020B0502040204020203" pitchFamily="34" charset="-122"/>
              </a:rPr>
              <a:t>Med en sentral fellesdatabase, legger vi til rette for mer gjenbruk av pasientinformasjonen i og utenfor våre nettsider.</a:t>
            </a:r>
          </a:p>
          <a:p>
            <a:endParaRPr lang="nb-NO" sz="3199" dirty="0">
              <a:solidFill>
                <a:schemeClr val="tx1">
                  <a:lumMod val="90000"/>
                  <a:lumOff val="10000"/>
                </a:schemeClr>
              </a:solidFill>
              <a:latin typeface="Microsoft YaHei UI Light" panose="020B0502040204020203" pitchFamily="34" charset="-122"/>
              <a:ea typeface="Microsoft YaHei UI Light" panose="020B0502040204020203" pitchFamily="34" charset="-122"/>
            </a:endParaRPr>
          </a:p>
        </p:txBody>
      </p:sp>
      <p:cxnSp>
        <p:nvCxnSpPr>
          <p:cNvPr id="5" name="Rett linje 4"/>
          <p:cNvCxnSpPr/>
          <p:nvPr/>
        </p:nvCxnSpPr>
        <p:spPr>
          <a:xfrm flipH="1">
            <a:off x="7315695" y="2062054"/>
            <a:ext cx="1036369" cy="119752"/>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Rett linje 32"/>
          <p:cNvCxnSpPr/>
          <p:nvPr/>
        </p:nvCxnSpPr>
        <p:spPr>
          <a:xfrm flipH="1" flipV="1">
            <a:off x="3608322" y="2480772"/>
            <a:ext cx="841123" cy="214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Rett linje 38"/>
          <p:cNvCxnSpPr/>
          <p:nvPr/>
        </p:nvCxnSpPr>
        <p:spPr>
          <a:xfrm flipH="1">
            <a:off x="3488593" y="4550187"/>
            <a:ext cx="895798" cy="140241"/>
          </a:xfrm>
          <a:prstGeom prst="line">
            <a:avLst/>
          </a:prstGeom>
        </p:spPr>
        <p:style>
          <a:lnRef idx="1">
            <a:schemeClr val="accent2"/>
          </a:lnRef>
          <a:fillRef idx="0">
            <a:schemeClr val="accent2"/>
          </a:fillRef>
          <a:effectRef idx="0">
            <a:schemeClr val="accent2"/>
          </a:effectRef>
          <a:fontRef idx="minor">
            <a:schemeClr val="tx1"/>
          </a:fontRef>
        </p:style>
      </p:cxnSp>
      <p:cxnSp>
        <p:nvCxnSpPr>
          <p:cNvPr id="43" name="Rett linje 42"/>
          <p:cNvCxnSpPr/>
          <p:nvPr/>
        </p:nvCxnSpPr>
        <p:spPr>
          <a:xfrm flipH="1" flipV="1">
            <a:off x="7263211" y="5189943"/>
            <a:ext cx="745773" cy="107492"/>
          </a:xfrm>
          <a:prstGeom prst="line">
            <a:avLst/>
          </a:prstGeom>
        </p:spPr>
        <p:style>
          <a:lnRef idx="1">
            <a:schemeClr val="accent2"/>
          </a:lnRef>
          <a:fillRef idx="0">
            <a:schemeClr val="accent2"/>
          </a:fillRef>
          <a:effectRef idx="0">
            <a:schemeClr val="accent2"/>
          </a:effectRef>
          <a:fontRef idx="minor">
            <a:schemeClr val="tx1"/>
          </a:fontRef>
        </p:style>
      </p:cxnSp>
      <p:cxnSp>
        <p:nvCxnSpPr>
          <p:cNvPr id="50" name="Rett linje 49"/>
          <p:cNvCxnSpPr/>
          <p:nvPr/>
        </p:nvCxnSpPr>
        <p:spPr>
          <a:xfrm flipH="1">
            <a:off x="7969121" y="3650919"/>
            <a:ext cx="841732" cy="2772"/>
          </a:xfrm>
          <a:prstGeom prst="line">
            <a:avLst/>
          </a:prstGeom>
        </p:spPr>
        <p:style>
          <a:lnRef idx="1">
            <a:schemeClr val="accent6"/>
          </a:lnRef>
          <a:fillRef idx="0">
            <a:schemeClr val="accent6"/>
          </a:fillRef>
          <a:effectRef idx="0">
            <a:schemeClr val="accent6"/>
          </a:effectRef>
          <a:fontRef idx="minor">
            <a:schemeClr val="tx1"/>
          </a:fontRef>
        </p:style>
      </p:cxnSp>
      <p:sp>
        <p:nvSpPr>
          <p:cNvPr id="6" name="TekstSylinder 5"/>
          <p:cNvSpPr txBox="1"/>
          <p:nvPr/>
        </p:nvSpPr>
        <p:spPr>
          <a:xfrm>
            <a:off x="5296700" y="1388871"/>
            <a:ext cx="1601721" cy="461665"/>
          </a:xfrm>
          <a:prstGeom prst="rect">
            <a:avLst/>
          </a:prstGeom>
          <a:noFill/>
        </p:spPr>
        <p:txBody>
          <a:bodyPr wrap="none" rtlCol="0">
            <a:spAutoFit/>
          </a:bodyPr>
          <a:lstStyle/>
          <a:p>
            <a:r>
              <a:rPr lang="nb-NO" sz="2400" dirty="0">
                <a:solidFill>
                  <a:schemeClr val="accent1">
                    <a:lumMod val="75000"/>
                  </a:schemeClr>
                </a:solidFill>
                <a:latin typeface="Microsoft YaHei UI Light" panose="020B0502040204020203" pitchFamily="34" charset="-122"/>
                <a:ea typeface="Microsoft YaHei UI Light" panose="020B0502040204020203" pitchFamily="34" charset="-122"/>
              </a:rPr>
              <a:t>Innbygger</a:t>
            </a:r>
          </a:p>
        </p:txBody>
      </p:sp>
      <p:sp>
        <p:nvSpPr>
          <p:cNvPr id="40" name="TekstSylinder 39"/>
          <p:cNvSpPr txBox="1"/>
          <p:nvPr/>
        </p:nvSpPr>
        <p:spPr>
          <a:xfrm>
            <a:off x="4819461" y="5504082"/>
            <a:ext cx="2726644" cy="461665"/>
          </a:xfrm>
          <a:prstGeom prst="rect">
            <a:avLst/>
          </a:prstGeom>
          <a:noFill/>
        </p:spPr>
        <p:txBody>
          <a:bodyPr wrap="none" rtlCol="0">
            <a:spAutoFit/>
          </a:bodyPr>
          <a:lstStyle/>
          <a:p>
            <a:r>
              <a:rPr lang="nb-NO" sz="2400" dirty="0">
                <a:solidFill>
                  <a:schemeClr val="accent2">
                    <a:lumMod val="75000"/>
                  </a:schemeClr>
                </a:solidFill>
                <a:latin typeface="Microsoft YaHei UI Light" panose="020B0502040204020203" pitchFamily="34" charset="-122"/>
                <a:ea typeface="Microsoft YaHei UI Light" panose="020B0502040204020203" pitchFamily="34" charset="-122"/>
              </a:rPr>
              <a:t>Pasient/pårørende</a:t>
            </a:r>
          </a:p>
        </p:txBody>
      </p:sp>
    </p:spTree>
    <p:extLst>
      <p:ext uri="{BB962C8B-B14F-4D97-AF65-F5344CB8AC3E}">
        <p14:creationId xmlns:p14="http://schemas.microsoft.com/office/powerpoint/2010/main" val="350562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20000" fill="hold" nodeType="withEffect" p14:presetBounceEnd="60000">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14:bounceEnd="60000">
                                          <p:cBhvr additive="base">
                                            <p:cTn id="7" dur="1500" fill="hold"/>
                                            <p:tgtEl>
                                              <p:spTgt spid="18"/>
                                            </p:tgtEl>
                                            <p:attrNameLst>
                                              <p:attrName>ppt_x</p:attrName>
                                            </p:attrNameLst>
                                          </p:cBhvr>
                                          <p:tavLst>
                                            <p:tav tm="0">
                                              <p:val>
                                                <p:strVal val="#ppt_x"/>
                                              </p:val>
                                            </p:tav>
                                            <p:tav tm="100000">
                                              <p:val>
                                                <p:strVal val="#ppt_x"/>
                                              </p:val>
                                            </p:tav>
                                          </p:tavLst>
                                        </p:anim>
                                        <p:anim calcmode="lin" valueType="num" p14:bounceEnd="60000">
                                          <p:cBhvr additive="base">
                                            <p:cTn id="8" dur="1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accel="20000" fill="hold" nodeType="withEffect" p14:presetBounceEnd="60000">
                                      <p:stCondLst>
                                        <p:cond delay="100"/>
                                      </p:stCondLst>
                                      <p:childTnLst>
                                        <p:set>
                                          <p:cBhvr>
                                            <p:cTn id="10" dur="1" fill="hold">
                                              <p:stCondLst>
                                                <p:cond delay="0"/>
                                              </p:stCondLst>
                                            </p:cTn>
                                            <p:tgtEl>
                                              <p:spTgt spid="19"/>
                                            </p:tgtEl>
                                            <p:attrNameLst>
                                              <p:attrName>style.visibility</p:attrName>
                                            </p:attrNameLst>
                                          </p:cBhvr>
                                          <p:to>
                                            <p:strVal val="visible"/>
                                          </p:to>
                                        </p:set>
                                        <p:anim calcmode="lin" valueType="num" p14:bounceEnd="60000">
                                          <p:cBhvr additive="base">
                                            <p:cTn id="11" dur="1500" fill="hold"/>
                                            <p:tgtEl>
                                              <p:spTgt spid="19"/>
                                            </p:tgtEl>
                                            <p:attrNameLst>
                                              <p:attrName>ppt_x</p:attrName>
                                            </p:attrNameLst>
                                          </p:cBhvr>
                                          <p:tavLst>
                                            <p:tav tm="0">
                                              <p:val>
                                                <p:strVal val="#ppt_x"/>
                                              </p:val>
                                            </p:tav>
                                            <p:tav tm="100000">
                                              <p:val>
                                                <p:strVal val="#ppt_x"/>
                                              </p:val>
                                            </p:tav>
                                          </p:tavLst>
                                        </p:anim>
                                        <p:anim calcmode="lin" valueType="num" p14:bounceEnd="60000">
                                          <p:cBhvr additive="base">
                                            <p:cTn id="12" dur="1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accel="20000" fill="hold" grpId="0" nodeType="withEffect" p14:presetBounceEnd="60000">
                                      <p:stCondLst>
                                        <p:cond delay="200"/>
                                      </p:stCondLst>
                                      <p:childTnLst>
                                        <p:set>
                                          <p:cBhvr>
                                            <p:cTn id="14" dur="1" fill="hold">
                                              <p:stCondLst>
                                                <p:cond delay="0"/>
                                              </p:stCondLst>
                                            </p:cTn>
                                            <p:tgtEl>
                                              <p:spTgt spid="10"/>
                                            </p:tgtEl>
                                            <p:attrNameLst>
                                              <p:attrName>style.visibility</p:attrName>
                                            </p:attrNameLst>
                                          </p:cBhvr>
                                          <p:to>
                                            <p:strVal val="visible"/>
                                          </p:to>
                                        </p:set>
                                        <p:anim calcmode="lin" valueType="num" p14:bounceEnd="60000">
                                          <p:cBhvr additive="base">
                                            <p:cTn id="15" dur="1500" fill="hold"/>
                                            <p:tgtEl>
                                              <p:spTgt spid="10"/>
                                            </p:tgtEl>
                                            <p:attrNameLst>
                                              <p:attrName>ppt_x</p:attrName>
                                            </p:attrNameLst>
                                          </p:cBhvr>
                                          <p:tavLst>
                                            <p:tav tm="0">
                                              <p:val>
                                                <p:strVal val="#ppt_x"/>
                                              </p:val>
                                            </p:tav>
                                            <p:tav tm="100000">
                                              <p:val>
                                                <p:strVal val="#ppt_x"/>
                                              </p:val>
                                            </p:tav>
                                          </p:tavLst>
                                        </p:anim>
                                        <p:anim calcmode="lin" valueType="num" p14:bounceEnd="60000">
                                          <p:cBhvr additive="base">
                                            <p:cTn id="16" dur="1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accel="20000" fill="hold" nodeType="withEffect" p14:presetBounceEnd="60000">
                                      <p:stCondLst>
                                        <p:cond delay="300"/>
                                      </p:stCondLst>
                                      <p:childTnLst>
                                        <p:set>
                                          <p:cBhvr>
                                            <p:cTn id="18" dur="1" fill="hold">
                                              <p:stCondLst>
                                                <p:cond delay="0"/>
                                              </p:stCondLst>
                                            </p:cTn>
                                            <p:tgtEl>
                                              <p:spTgt spid="20"/>
                                            </p:tgtEl>
                                            <p:attrNameLst>
                                              <p:attrName>style.visibility</p:attrName>
                                            </p:attrNameLst>
                                          </p:cBhvr>
                                          <p:to>
                                            <p:strVal val="visible"/>
                                          </p:to>
                                        </p:set>
                                        <p:anim calcmode="lin" valueType="num" p14:bounceEnd="60000">
                                          <p:cBhvr additive="base">
                                            <p:cTn id="19" dur="1500" fill="hold"/>
                                            <p:tgtEl>
                                              <p:spTgt spid="20"/>
                                            </p:tgtEl>
                                            <p:attrNameLst>
                                              <p:attrName>ppt_x</p:attrName>
                                            </p:attrNameLst>
                                          </p:cBhvr>
                                          <p:tavLst>
                                            <p:tav tm="0">
                                              <p:val>
                                                <p:strVal val="#ppt_x"/>
                                              </p:val>
                                            </p:tav>
                                            <p:tav tm="100000">
                                              <p:val>
                                                <p:strVal val="#ppt_x"/>
                                              </p:val>
                                            </p:tav>
                                          </p:tavLst>
                                        </p:anim>
                                        <p:anim calcmode="lin" valueType="num" p14:bounceEnd="60000">
                                          <p:cBhvr additive="base">
                                            <p:cTn id="20" dur="1500" fill="hold"/>
                                            <p:tgtEl>
                                              <p:spTgt spid="20"/>
                                            </p:tgtEl>
                                            <p:attrNameLst>
                                              <p:attrName>ppt_y</p:attrName>
                                            </p:attrNameLst>
                                          </p:cBhvr>
                                          <p:tavLst>
                                            <p:tav tm="0">
                                              <p:val>
                                                <p:strVal val="1+#ppt_h/2"/>
                                              </p:val>
                                            </p:tav>
                                            <p:tav tm="100000">
                                              <p:val>
                                                <p:strVal val="#ppt_y"/>
                                              </p:val>
                                            </p:tav>
                                          </p:tavLst>
                                        </p:anim>
                                      </p:childTnLst>
                                    </p:cTn>
                                  </p:par>
                                  <p:par>
                                    <p:cTn id="21" presetID="2" presetClass="entr" presetSubtype="4" accel="20000" fill="hold" nodeType="withEffect" p14:presetBounceEnd="60000">
                                      <p:stCondLst>
                                        <p:cond delay="400"/>
                                      </p:stCondLst>
                                      <p:childTnLst>
                                        <p:set>
                                          <p:cBhvr>
                                            <p:cTn id="22" dur="1" fill="hold">
                                              <p:stCondLst>
                                                <p:cond delay="0"/>
                                              </p:stCondLst>
                                            </p:cTn>
                                            <p:tgtEl>
                                              <p:spTgt spid="21"/>
                                            </p:tgtEl>
                                            <p:attrNameLst>
                                              <p:attrName>style.visibility</p:attrName>
                                            </p:attrNameLst>
                                          </p:cBhvr>
                                          <p:to>
                                            <p:strVal val="visible"/>
                                          </p:to>
                                        </p:set>
                                        <p:anim calcmode="lin" valueType="num" p14:bounceEnd="60000">
                                          <p:cBhvr additive="base">
                                            <p:cTn id="23" dur="1500" fill="hold"/>
                                            <p:tgtEl>
                                              <p:spTgt spid="21"/>
                                            </p:tgtEl>
                                            <p:attrNameLst>
                                              <p:attrName>ppt_x</p:attrName>
                                            </p:attrNameLst>
                                          </p:cBhvr>
                                          <p:tavLst>
                                            <p:tav tm="0">
                                              <p:val>
                                                <p:strVal val="#ppt_x"/>
                                              </p:val>
                                            </p:tav>
                                            <p:tav tm="100000">
                                              <p:val>
                                                <p:strVal val="#ppt_x"/>
                                              </p:val>
                                            </p:tav>
                                          </p:tavLst>
                                        </p:anim>
                                        <p:anim calcmode="lin" valueType="num" p14:bounceEnd="60000">
                                          <p:cBhvr additive="base">
                                            <p:cTn id="24" dur="1500" fill="hold"/>
                                            <p:tgtEl>
                                              <p:spTgt spid="21"/>
                                            </p:tgtEl>
                                            <p:attrNameLst>
                                              <p:attrName>ppt_y</p:attrName>
                                            </p:attrNameLst>
                                          </p:cBhvr>
                                          <p:tavLst>
                                            <p:tav tm="0">
                                              <p:val>
                                                <p:strVal val="1+#ppt_h/2"/>
                                              </p:val>
                                            </p:tav>
                                            <p:tav tm="100000">
                                              <p:val>
                                                <p:strVal val="#ppt_y"/>
                                              </p:val>
                                            </p:tav>
                                          </p:tavLst>
                                        </p:anim>
                                      </p:childTnLst>
                                    </p:cTn>
                                  </p:par>
                                  <p:par>
                                    <p:cTn id="25" presetID="49" presetClass="entr" presetSubtype="0" decel="100000" fill="hold" grpId="0" nodeType="withEffect">
                                      <p:stCondLst>
                                        <p:cond delay="250"/>
                                      </p:stCondLst>
                                      <p:childTnLst>
                                        <p:set>
                                          <p:cBhvr>
                                            <p:cTn id="26" dur="1" fill="hold">
                                              <p:stCondLst>
                                                <p:cond delay="0"/>
                                              </p:stCondLst>
                                            </p:cTn>
                                            <p:tgtEl>
                                              <p:spTgt spid="22"/>
                                            </p:tgtEl>
                                            <p:attrNameLst>
                                              <p:attrName>style.visibility</p:attrName>
                                            </p:attrNameLst>
                                          </p:cBhvr>
                                          <p:to>
                                            <p:strVal val="visible"/>
                                          </p:to>
                                        </p:set>
                                        <p:anim calcmode="lin" valueType="num">
                                          <p:cBhvr>
                                            <p:cTn id="27" dur="300" fill="hold"/>
                                            <p:tgtEl>
                                              <p:spTgt spid="22"/>
                                            </p:tgtEl>
                                            <p:attrNameLst>
                                              <p:attrName>ppt_w</p:attrName>
                                            </p:attrNameLst>
                                          </p:cBhvr>
                                          <p:tavLst>
                                            <p:tav tm="0">
                                              <p:val>
                                                <p:fltVal val="0"/>
                                              </p:val>
                                            </p:tav>
                                            <p:tav tm="100000">
                                              <p:val>
                                                <p:strVal val="#ppt_w"/>
                                              </p:val>
                                            </p:tav>
                                          </p:tavLst>
                                        </p:anim>
                                        <p:anim calcmode="lin" valueType="num">
                                          <p:cBhvr>
                                            <p:cTn id="28" dur="300" fill="hold"/>
                                            <p:tgtEl>
                                              <p:spTgt spid="22"/>
                                            </p:tgtEl>
                                            <p:attrNameLst>
                                              <p:attrName>ppt_h</p:attrName>
                                            </p:attrNameLst>
                                          </p:cBhvr>
                                          <p:tavLst>
                                            <p:tav tm="0">
                                              <p:val>
                                                <p:fltVal val="0"/>
                                              </p:val>
                                            </p:tav>
                                            <p:tav tm="100000">
                                              <p:val>
                                                <p:strVal val="#ppt_h"/>
                                              </p:val>
                                            </p:tav>
                                          </p:tavLst>
                                        </p:anim>
                                        <p:anim calcmode="lin" valueType="num">
                                          <p:cBhvr>
                                            <p:cTn id="29" dur="300" fill="hold"/>
                                            <p:tgtEl>
                                              <p:spTgt spid="22"/>
                                            </p:tgtEl>
                                            <p:attrNameLst>
                                              <p:attrName>style.rotation</p:attrName>
                                            </p:attrNameLst>
                                          </p:cBhvr>
                                          <p:tavLst>
                                            <p:tav tm="0">
                                              <p:val>
                                                <p:fltVal val="360"/>
                                              </p:val>
                                            </p:tav>
                                            <p:tav tm="100000">
                                              <p:val>
                                                <p:fltVal val="0"/>
                                              </p:val>
                                            </p:tav>
                                          </p:tavLst>
                                        </p:anim>
                                        <p:animEffect transition="in" filter="fade">
                                          <p:cBhvr>
                                            <p:cTn id="30" dur="300"/>
                                            <p:tgtEl>
                                              <p:spTgt spid="22"/>
                                            </p:tgtEl>
                                          </p:cBhvr>
                                        </p:animEffect>
                                      </p:childTnLst>
                                    </p:cTn>
                                  </p:par>
                                  <p:par>
                                    <p:cTn id="31" presetID="10" presetClass="entr" presetSubtype="0" fill="hold" nodeType="withEffect">
                                      <p:stCondLst>
                                        <p:cond delay="25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250"/>
                                            <p:tgtEl>
                                              <p:spTgt spid="5"/>
                                            </p:tgtEl>
                                          </p:cBhvr>
                                        </p:animEffect>
                                      </p:childTnLst>
                                    </p:cTn>
                                  </p:par>
                                  <p:par>
                                    <p:cTn id="34" presetID="49" presetClass="entr" presetSubtype="0" decel="100000" fill="hold" grpId="0" nodeType="withEffect">
                                      <p:stCondLst>
                                        <p:cond delay="400"/>
                                      </p:stCondLst>
                                      <p:childTnLst>
                                        <p:set>
                                          <p:cBhvr>
                                            <p:cTn id="35" dur="1" fill="hold">
                                              <p:stCondLst>
                                                <p:cond delay="0"/>
                                              </p:stCondLst>
                                            </p:cTn>
                                            <p:tgtEl>
                                              <p:spTgt spid="46"/>
                                            </p:tgtEl>
                                            <p:attrNameLst>
                                              <p:attrName>style.visibility</p:attrName>
                                            </p:attrNameLst>
                                          </p:cBhvr>
                                          <p:to>
                                            <p:strVal val="visible"/>
                                          </p:to>
                                        </p:set>
                                        <p:anim calcmode="lin" valueType="num">
                                          <p:cBhvr>
                                            <p:cTn id="36" dur="300" fill="hold"/>
                                            <p:tgtEl>
                                              <p:spTgt spid="46"/>
                                            </p:tgtEl>
                                            <p:attrNameLst>
                                              <p:attrName>ppt_w</p:attrName>
                                            </p:attrNameLst>
                                          </p:cBhvr>
                                          <p:tavLst>
                                            <p:tav tm="0">
                                              <p:val>
                                                <p:fltVal val="0"/>
                                              </p:val>
                                            </p:tav>
                                            <p:tav tm="100000">
                                              <p:val>
                                                <p:strVal val="#ppt_w"/>
                                              </p:val>
                                            </p:tav>
                                          </p:tavLst>
                                        </p:anim>
                                        <p:anim calcmode="lin" valueType="num">
                                          <p:cBhvr>
                                            <p:cTn id="37" dur="300" fill="hold"/>
                                            <p:tgtEl>
                                              <p:spTgt spid="46"/>
                                            </p:tgtEl>
                                            <p:attrNameLst>
                                              <p:attrName>ppt_h</p:attrName>
                                            </p:attrNameLst>
                                          </p:cBhvr>
                                          <p:tavLst>
                                            <p:tav tm="0">
                                              <p:val>
                                                <p:fltVal val="0"/>
                                              </p:val>
                                            </p:tav>
                                            <p:tav tm="100000">
                                              <p:val>
                                                <p:strVal val="#ppt_h"/>
                                              </p:val>
                                            </p:tav>
                                          </p:tavLst>
                                        </p:anim>
                                        <p:anim calcmode="lin" valueType="num">
                                          <p:cBhvr>
                                            <p:cTn id="38" dur="300" fill="hold"/>
                                            <p:tgtEl>
                                              <p:spTgt spid="46"/>
                                            </p:tgtEl>
                                            <p:attrNameLst>
                                              <p:attrName>style.rotation</p:attrName>
                                            </p:attrNameLst>
                                          </p:cBhvr>
                                          <p:tavLst>
                                            <p:tav tm="0">
                                              <p:val>
                                                <p:fltVal val="360"/>
                                              </p:val>
                                            </p:tav>
                                            <p:tav tm="100000">
                                              <p:val>
                                                <p:fltVal val="0"/>
                                              </p:val>
                                            </p:tav>
                                          </p:tavLst>
                                        </p:anim>
                                        <p:animEffect transition="in" filter="fade">
                                          <p:cBhvr>
                                            <p:cTn id="39" dur="300"/>
                                            <p:tgtEl>
                                              <p:spTgt spid="46"/>
                                            </p:tgtEl>
                                          </p:cBhvr>
                                        </p:animEffect>
                                      </p:childTnLst>
                                    </p:cTn>
                                  </p:par>
                                  <p:par>
                                    <p:cTn id="40" presetID="10" presetClass="entr" presetSubtype="0" fill="hold" nodeType="withEffect">
                                      <p:stCondLst>
                                        <p:cond delay="40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250"/>
                                            <p:tgtEl>
                                              <p:spTgt spid="33"/>
                                            </p:tgtEl>
                                          </p:cBhvr>
                                        </p:animEffect>
                                      </p:childTnLst>
                                    </p:cTn>
                                  </p:par>
                                  <p:par>
                                    <p:cTn id="43" presetID="49" presetClass="entr" presetSubtype="0" decel="100000" fill="hold" grpId="0" nodeType="withEffect">
                                      <p:stCondLst>
                                        <p:cond delay="500"/>
                                      </p:stCondLst>
                                      <p:childTnLst>
                                        <p:set>
                                          <p:cBhvr>
                                            <p:cTn id="44" dur="1" fill="hold">
                                              <p:stCondLst>
                                                <p:cond delay="0"/>
                                              </p:stCondLst>
                                            </p:cTn>
                                            <p:tgtEl>
                                              <p:spTgt spid="24"/>
                                            </p:tgtEl>
                                            <p:attrNameLst>
                                              <p:attrName>style.visibility</p:attrName>
                                            </p:attrNameLst>
                                          </p:cBhvr>
                                          <p:to>
                                            <p:strVal val="visible"/>
                                          </p:to>
                                        </p:set>
                                        <p:anim calcmode="lin" valueType="num">
                                          <p:cBhvr>
                                            <p:cTn id="45" dur="300" fill="hold"/>
                                            <p:tgtEl>
                                              <p:spTgt spid="24"/>
                                            </p:tgtEl>
                                            <p:attrNameLst>
                                              <p:attrName>ppt_w</p:attrName>
                                            </p:attrNameLst>
                                          </p:cBhvr>
                                          <p:tavLst>
                                            <p:tav tm="0">
                                              <p:val>
                                                <p:fltVal val="0"/>
                                              </p:val>
                                            </p:tav>
                                            <p:tav tm="100000">
                                              <p:val>
                                                <p:strVal val="#ppt_w"/>
                                              </p:val>
                                            </p:tav>
                                          </p:tavLst>
                                        </p:anim>
                                        <p:anim calcmode="lin" valueType="num">
                                          <p:cBhvr>
                                            <p:cTn id="46" dur="300" fill="hold"/>
                                            <p:tgtEl>
                                              <p:spTgt spid="24"/>
                                            </p:tgtEl>
                                            <p:attrNameLst>
                                              <p:attrName>ppt_h</p:attrName>
                                            </p:attrNameLst>
                                          </p:cBhvr>
                                          <p:tavLst>
                                            <p:tav tm="0">
                                              <p:val>
                                                <p:fltVal val="0"/>
                                              </p:val>
                                            </p:tav>
                                            <p:tav tm="100000">
                                              <p:val>
                                                <p:strVal val="#ppt_h"/>
                                              </p:val>
                                            </p:tav>
                                          </p:tavLst>
                                        </p:anim>
                                        <p:anim calcmode="lin" valueType="num">
                                          <p:cBhvr>
                                            <p:cTn id="47" dur="300" fill="hold"/>
                                            <p:tgtEl>
                                              <p:spTgt spid="24"/>
                                            </p:tgtEl>
                                            <p:attrNameLst>
                                              <p:attrName>style.rotation</p:attrName>
                                            </p:attrNameLst>
                                          </p:cBhvr>
                                          <p:tavLst>
                                            <p:tav tm="0">
                                              <p:val>
                                                <p:fltVal val="360"/>
                                              </p:val>
                                            </p:tav>
                                            <p:tav tm="100000">
                                              <p:val>
                                                <p:fltVal val="0"/>
                                              </p:val>
                                            </p:tav>
                                          </p:tavLst>
                                        </p:anim>
                                        <p:animEffect transition="in" filter="fade">
                                          <p:cBhvr>
                                            <p:cTn id="48" dur="300"/>
                                            <p:tgtEl>
                                              <p:spTgt spid="24"/>
                                            </p:tgtEl>
                                          </p:cBhvr>
                                        </p:animEffect>
                                      </p:childTnLst>
                                    </p:cTn>
                                  </p:par>
                                  <p:par>
                                    <p:cTn id="49" presetID="10" presetClass="entr" presetSubtype="0" fill="hold" nodeType="withEffect">
                                      <p:stCondLst>
                                        <p:cond delay="50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par>
                                    <p:cTn id="52" presetID="49" presetClass="entr" presetSubtype="0" decel="100000" fill="hold" grpId="0" nodeType="withEffect">
                                      <p:stCondLst>
                                        <p:cond delay="600"/>
                                      </p:stCondLst>
                                      <p:childTnLst>
                                        <p:set>
                                          <p:cBhvr>
                                            <p:cTn id="53" dur="1" fill="hold">
                                              <p:stCondLst>
                                                <p:cond delay="0"/>
                                              </p:stCondLst>
                                            </p:cTn>
                                            <p:tgtEl>
                                              <p:spTgt spid="48"/>
                                            </p:tgtEl>
                                            <p:attrNameLst>
                                              <p:attrName>style.visibility</p:attrName>
                                            </p:attrNameLst>
                                          </p:cBhvr>
                                          <p:to>
                                            <p:strVal val="visible"/>
                                          </p:to>
                                        </p:set>
                                        <p:anim calcmode="lin" valueType="num">
                                          <p:cBhvr>
                                            <p:cTn id="54" dur="300" fill="hold"/>
                                            <p:tgtEl>
                                              <p:spTgt spid="48"/>
                                            </p:tgtEl>
                                            <p:attrNameLst>
                                              <p:attrName>ppt_w</p:attrName>
                                            </p:attrNameLst>
                                          </p:cBhvr>
                                          <p:tavLst>
                                            <p:tav tm="0">
                                              <p:val>
                                                <p:fltVal val="0"/>
                                              </p:val>
                                            </p:tav>
                                            <p:tav tm="100000">
                                              <p:val>
                                                <p:strVal val="#ppt_w"/>
                                              </p:val>
                                            </p:tav>
                                          </p:tavLst>
                                        </p:anim>
                                        <p:anim calcmode="lin" valueType="num">
                                          <p:cBhvr>
                                            <p:cTn id="55" dur="300" fill="hold"/>
                                            <p:tgtEl>
                                              <p:spTgt spid="48"/>
                                            </p:tgtEl>
                                            <p:attrNameLst>
                                              <p:attrName>ppt_h</p:attrName>
                                            </p:attrNameLst>
                                          </p:cBhvr>
                                          <p:tavLst>
                                            <p:tav tm="0">
                                              <p:val>
                                                <p:fltVal val="0"/>
                                              </p:val>
                                            </p:tav>
                                            <p:tav tm="100000">
                                              <p:val>
                                                <p:strVal val="#ppt_h"/>
                                              </p:val>
                                            </p:tav>
                                          </p:tavLst>
                                        </p:anim>
                                        <p:anim calcmode="lin" valueType="num">
                                          <p:cBhvr>
                                            <p:cTn id="56" dur="300" fill="hold"/>
                                            <p:tgtEl>
                                              <p:spTgt spid="48"/>
                                            </p:tgtEl>
                                            <p:attrNameLst>
                                              <p:attrName>style.rotation</p:attrName>
                                            </p:attrNameLst>
                                          </p:cBhvr>
                                          <p:tavLst>
                                            <p:tav tm="0">
                                              <p:val>
                                                <p:fltVal val="360"/>
                                              </p:val>
                                            </p:tav>
                                            <p:tav tm="100000">
                                              <p:val>
                                                <p:fltVal val="0"/>
                                              </p:val>
                                            </p:tav>
                                          </p:tavLst>
                                        </p:anim>
                                        <p:animEffect transition="in" filter="fade">
                                          <p:cBhvr>
                                            <p:cTn id="57" dur="300"/>
                                            <p:tgtEl>
                                              <p:spTgt spid="48"/>
                                            </p:tgtEl>
                                          </p:cBhvr>
                                        </p:animEffect>
                                      </p:childTnLst>
                                    </p:cTn>
                                  </p:par>
                                  <p:par>
                                    <p:cTn id="58" presetID="10" presetClass="entr" presetSubtype="0" fill="hold" nodeType="withEffect">
                                      <p:stCondLst>
                                        <p:cond delay="60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250"/>
                                            <p:tgtEl>
                                              <p:spTgt spid="39"/>
                                            </p:tgtEl>
                                          </p:cBhvr>
                                        </p:animEffect>
                                      </p:childTnLst>
                                    </p:cTn>
                                  </p:par>
                                  <p:par>
                                    <p:cTn id="61" presetID="49" presetClass="entr" presetSubtype="0" decel="100000" fill="hold" grpId="0" nodeType="withEffect">
                                      <p:stCondLst>
                                        <p:cond delay="700"/>
                                      </p:stCondLst>
                                      <p:childTnLst>
                                        <p:set>
                                          <p:cBhvr>
                                            <p:cTn id="62" dur="1" fill="hold">
                                              <p:stCondLst>
                                                <p:cond delay="0"/>
                                              </p:stCondLst>
                                            </p:cTn>
                                            <p:tgtEl>
                                              <p:spTgt spid="26"/>
                                            </p:tgtEl>
                                            <p:attrNameLst>
                                              <p:attrName>style.visibility</p:attrName>
                                            </p:attrNameLst>
                                          </p:cBhvr>
                                          <p:to>
                                            <p:strVal val="visible"/>
                                          </p:to>
                                        </p:set>
                                        <p:anim calcmode="lin" valueType="num">
                                          <p:cBhvr>
                                            <p:cTn id="63" dur="300" fill="hold"/>
                                            <p:tgtEl>
                                              <p:spTgt spid="26"/>
                                            </p:tgtEl>
                                            <p:attrNameLst>
                                              <p:attrName>ppt_w</p:attrName>
                                            </p:attrNameLst>
                                          </p:cBhvr>
                                          <p:tavLst>
                                            <p:tav tm="0">
                                              <p:val>
                                                <p:fltVal val="0"/>
                                              </p:val>
                                            </p:tav>
                                            <p:tav tm="100000">
                                              <p:val>
                                                <p:strVal val="#ppt_w"/>
                                              </p:val>
                                            </p:tav>
                                          </p:tavLst>
                                        </p:anim>
                                        <p:anim calcmode="lin" valueType="num">
                                          <p:cBhvr>
                                            <p:cTn id="64" dur="300" fill="hold"/>
                                            <p:tgtEl>
                                              <p:spTgt spid="26"/>
                                            </p:tgtEl>
                                            <p:attrNameLst>
                                              <p:attrName>ppt_h</p:attrName>
                                            </p:attrNameLst>
                                          </p:cBhvr>
                                          <p:tavLst>
                                            <p:tav tm="0">
                                              <p:val>
                                                <p:fltVal val="0"/>
                                              </p:val>
                                            </p:tav>
                                            <p:tav tm="100000">
                                              <p:val>
                                                <p:strVal val="#ppt_h"/>
                                              </p:val>
                                            </p:tav>
                                          </p:tavLst>
                                        </p:anim>
                                        <p:anim calcmode="lin" valueType="num">
                                          <p:cBhvr>
                                            <p:cTn id="65" dur="300" fill="hold"/>
                                            <p:tgtEl>
                                              <p:spTgt spid="26"/>
                                            </p:tgtEl>
                                            <p:attrNameLst>
                                              <p:attrName>style.rotation</p:attrName>
                                            </p:attrNameLst>
                                          </p:cBhvr>
                                          <p:tavLst>
                                            <p:tav tm="0">
                                              <p:val>
                                                <p:fltVal val="360"/>
                                              </p:val>
                                            </p:tav>
                                            <p:tav tm="100000">
                                              <p:val>
                                                <p:fltVal val="0"/>
                                              </p:val>
                                            </p:tav>
                                          </p:tavLst>
                                        </p:anim>
                                        <p:animEffect transition="in" filter="fade">
                                          <p:cBhvr>
                                            <p:cTn id="66" dur="300"/>
                                            <p:tgtEl>
                                              <p:spTgt spid="26"/>
                                            </p:tgtEl>
                                          </p:cBhvr>
                                        </p:animEffect>
                                      </p:childTnLst>
                                    </p:cTn>
                                  </p:par>
                                  <p:par>
                                    <p:cTn id="67" presetID="10" presetClass="entr" presetSubtype="0" fill="hold" nodeType="withEffect">
                                      <p:stCondLst>
                                        <p:cond delay="700"/>
                                      </p:stCondLst>
                                      <p:childTnLst>
                                        <p:set>
                                          <p:cBhvr>
                                            <p:cTn id="68" dur="1" fill="hold">
                                              <p:stCondLst>
                                                <p:cond delay="0"/>
                                              </p:stCondLst>
                                            </p:cTn>
                                            <p:tgtEl>
                                              <p:spTgt spid="43"/>
                                            </p:tgtEl>
                                            <p:attrNameLst>
                                              <p:attrName>style.visibility</p:attrName>
                                            </p:attrNameLst>
                                          </p:cBhvr>
                                          <p:to>
                                            <p:strVal val="visible"/>
                                          </p:to>
                                        </p:set>
                                        <p:animEffect transition="in" filter="fade">
                                          <p:cBhvr>
                                            <p:cTn id="69" dur="250"/>
                                            <p:tgtEl>
                                              <p:spTgt spid="43"/>
                                            </p:tgtEl>
                                          </p:cBhvr>
                                        </p:animEffect>
                                      </p:childTnLst>
                                    </p:cTn>
                                  </p:par>
                                  <p:par>
                                    <p:cTn id="70" presetID="10" presetClass="entr" presetSubtype="0" fill="hold" grpId="0" nodeType="withEffect">
                                      <p:stCondLst>
                                        <p:cond delay="30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300"/>
                                            <p:tgtEl>
                                              <p:spTgt spid="23"/>
                                            </p:tgtEl>
                                          </p:cBhvr>
                                        </p:animEffect>
                                      </p:childTnLst>
                                    </p:cTn>
                                  </p:par>
                                  <p:par>
                                    <p:cTn id="73" presetID="10" presetClass="entr" presetSubtype="0" fill="hold" grpId="0" nodeType="withEffect">
                                      <p:stCondLst>
                                        <p:cond delay="400"/>
                                      </p:stCondLst>
                                      <p:childTnLst>
                                        <p:set>
                                          <p:cBhvr>
                                            <p:cTn id="74" dur="1" fill="hold">
                                              <p:stCondLst>
                                                <p:cond delay="0"/>
                                              </p:stCondLst>
                                            </p:cTn>
                                            <p:tgtEl>
                                              <p:spTgt spid="47"/>
                                            </p:tgtEl>
                                            <p:attrNameLst>
                                              <p:attrName>style.visibility</p:attrName>
                                            </p:attrNameLst>
                                          </p:cBhvr>
                                          <p:to>
                                            <p:strVal val="visible"/>
                                          </p:to>
                                        </p:set>
                                        <p:animEffect transition="in" filter="fade">
                                          <p:cBhvr>
                                            <p:cTn id="75" dur="300"/>
                                            <p:tgtEl>
                                              <p:spTgt spid="47"/>
                                            </p:tgtEl>
                                          </p:cBhvr>
                                        </p:animEffect>
                                      </p:childTnLst>
                                    </p:cTn>
                                  </p:par>
                                  <p:par>
                                    <p:cTn id="76" presetID="10" presetClass="entr" presetSubtype="0" fill="hold" grpId="0" nodeType="withEffect">
                                      <p:stCondLst>
                                        <p:cond delay="500"/>
                                      </p:stCondLst>
                                      <p:childTnLst>
                                        <p:set>
                                          <p:cBhvr>
                                            <p:cTn id="77" dur="1" fill="hold">
                                              <p:stCondLst>
                                                <p:cond delay="0"/>
                                              </p:stCondLst>
                                            </p:cTn>
                                            <p:tgtEl>
                                              <p:spTgt spid="25"/>
                                            </p:tgtEl>
                                            <p:attrNameLst>
                                              <p:attrName>style.visibility</p:attrName>
                                            </p:attrNameLst>
                                          </p:cBhvr>
                                          <p:to>
                                            <p:strVal val="visible"/>
                                          </p:to>
                                        </p:set>
                                        <p:animEffect transition="in" filter="fade">
                                          <p:cBhvr>
                                            <p:cTn id="78" dur="300"/>
                                            <p:tgtEl>
                                              <p:spTgt spid="25"/>
                                            </p:tgtEl>
                                          </p:cBhvr>
                                        </p:animEffect>
                                      </p:childTnLst>
                                    </p:cTn>
                                  </p:par>
                                  <p:par>
                                    <p:cTn id="79" presetID="10" presetClass="entr" presetSubtype="0" fill="hold" grpId="0" nodeType="withEffect">
                                      <p:stCondLst>
                                        <p:cond delay="600"/>
                                      </p:stCondLst>
                                      <p:childTnLst>
                                        <p:set>
                                          <p:cBhvr>
                                            <p:cTn id="80" dur="1" fill="hold">
                                              <p:stCondLst>
                                                <p:cond delay="0"/>
                                              </p:stCondLst>
                                            </p:cTn>
                                            <p:tgtEl>
                                              <p:spTgt spid="49"/>
                                            </p:tgtEl>
                                            <p:attrNameLst>
                                              <p:attrName>style.visibility</p:attrName>
                                            </p:attrNameLst>
                                          </p:cBhvr>
                                          <p:to>
                                            <p:strVal val="visible"/>
                                          </p:to>
                                        </p:set>
                                        <p:animEffect transition="in" filter="fade">
                                          <p:cBhvr>
                                            <p:cTn id="81" dur="300"/>
                                            <p:tgtEl>
                                              <p:spTgt spid="49"/>
                                            </p:tgtEl>
                                          </p:cBhvr>
                                        </p:animEffect>
                                      </p:childTnLst>
                                    </p:cTn>
                                  </p:par>
                                  <p:par>
                                    <p:cTn id="82" presetID="10" presetClass="entr" presetSubtype="0" fill="hold" grpId="0" nodeType="withEffect">
                                      <p:stCondLst>
                                        <p:cond delay="70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3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2" grpId="0" animBg="1"/>
          <p:bldP spid="23" grpId="0"/>
          <p:bldP spid="24" grpId="0" animBg="1"/>
          <p:bldP spid="25" grpId="0"/>
          <p:bldP spid="26" grpId="0" animBg="1"/>
          <p:bldP spid="27" grpId="0"/>
          <p:bldP spid="46" grpId="0" animBg="1"/>
          <p:bldP spid="47" grpId="0"/>
          <p:bldP spid="48" grpId="0" animBg="1"/>
          <p:bldP spid="4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2000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1500" fill="hold"/>
                                            <p:tgtEl>
                                              <p:spTgt spid="18"/>
                                            </p:tgtEl>
                                            <p:attrNameLst>
                                              <p:attrName>ppt_x</p:attrName>
                                            </p:attrNameLst>
                                          </p:cBhvr>
                                          <p:tavLst>
                                            <p:tav tm="0">
                                              <p:val>
                                                <p:strVal val="#ppt_x"/>
                                              </p:val>
                                            </p:tav>
                                            <p:tav tm="100000">
                                              <p:val>
                                                <p:strVal val="#ppt_x"/>
                                              </p:val>
                                            </p:tav>
                                          </p:tavLst>
                                        </p:anim>
                                        <p:anim calcmode="lin" valueType="num">
                                          <p:cBhvr additive="base">
                                            <p:cTn id="8" dur="1500" fill="hold"/>
                                            <p:tgtEl>
                                              <p:spTgt spid="18"/>
                                            </p:tgtEl>
                                            <p:attrNameLst>
                                              <p:attrName>ppt_y</p:attrName>
                                            </p:attrNameLst>
                                          </p:cBhvr>
                                          <p:tavLst>
                                            <p:tav tm="0">
                                              <p:val>
                                                <p:strVal val="1+#ppt_h/2"/>
                                              </p:val>
                                            </p:tav>
                                            <p:tav tm="100000">
                                              <p:val>
                                                <p:strVal val="#ppt_y"/>
                                              </p:val>
                                            </p:tav>
                                          </p:tavLst>
                                        </p:anim>
                                      </p:childTnLst>
                                    </p:cTn>
                                  </p:par>
                                  <p:par>
                                    <p:cTn id="9" presetID="2" presetClass="entr" presetSubtype="4" accel="20000" fill="hold" nodeType="withEffect">
                                      <p:stCondLst>
                                        <p:cond delay="10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500" fill="hold"/>
                                            <p:tgtEl>
                                              <p:spTgt spid="19"/>
                                            </p:tgtEl>
                                            <p:attrNameLst>
                                              <p:attrName>ppt_x</p:attrName>
                                            </p:attrNameLst>
                                          </p:cBhvr>
                                          <p:tavLst>
                                            <p:tav tm="0">
                                              <p:val>
                                                <p:strVal val="#ppt_x"/>
                                              </p:val>
                                            </p:tav>
                                            <p:tav tm="100000">
                                              <p:val>
                                                <p:strVal val="#ppt_x"/>
                                              </p:val>
                                            </p:tav>
                                          </p:tavLst>
                                        </p:anim>
                                        <p:anim calcmode="lin" valueType="num">
                                          <p:cBhvr additive="base">
                                            <p:cTn id="12" dur="1500" fill="hold"/>
                                            <p:tgtEl>
                                              <p:spTgt spid="19"/>
                                            </p:tgtEl>
                                            <p:attrNameLst>
                                              <p:attrName>ppt_y</p:attrName>
                                            </p:attrNameLst>
                                          </p:cBhvr>
                                          <p:tavLst>
                                            <p:tav tm="0">
                                              <p:val>
                                                <p:strVal val="1+#ppt_h/2"/>
                                              </p:val>
                                            </p:tav>
                                            <p:tav tm="100000">
                                              <p:val>
                                                <p:strVal val="#ppt_y"/>
                                              </p:val>
                                            </p:tav>
                                          </p:tavLst>
                                        </p:anim>
                                      </p:childTnLst>
                                    </p:cTn>
                                  </p:par>
                                  <p:par>
                                    <p:cTn id="13" presetID="2" presetClass="entr" presetSubtype="4" accel="20000" fill="hold" grpId="0" nodeType="withEffect">
                                      <p:stCondLst>
                                        <p:cond delay="20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1500" fill="hold"/>
                                            <p:tgtEl>
                                              <p:spTgt spid="10"/>
                                            </p:tgtEl>
                                            <p:attrNameLst>
                                              <p:attrName>ppt_x</p:attrName>
                                            </p:attrNameLst>
                                          </p:cBhvr>
                                          <p:tavLst>
                                            <p:tav tm="0">
                                              <p:val>
                                                <p:strVal val="#ppt_x"/>
                                              </p:val>
                                            </p:tav>
                                            <p:tav tm="100000">
                                              <p:val>
                                                <p:strVal val="#ppt_x"/>
                                              </p:val>
                                            </p:tav>
                                          </p:tavLst>
                                        </p:anim>
                                        <p:anim calcmode="lin" valueType="num">
                                          <p:cBhvr additive="base">
                                            <p:cTn id="16" dur="1500" fill="hold"/>
                                            <p:tgtEl>
                                              <p:spTgt spid="10"/>
                                            </p:tgtEl>
                                            <p:attrNameLst>
                                              <p:attrName>ppt_y</p:attrName>
                                            </p:attrNameLst>
                                          </p:cBhvr>
                                          <p:tavLst>
                                            <p:tav tm="0">
                                              <p:val>
                                                <p:strVal val="1+#ppt_h/2"/>
                                              </p:val>
                                            </p:tav>
                                            <p:tav tm="100000">
                                              <p:val>
                                                <p:strVal val="#ppt_y"/>
                                              </p:val>
                                            </p:tav>
                                          </p:tavLst>
                                        </p:anim>
                                      </p:childTnLst>
                                    </p:cTn>
                                  </p:par>
                                  <p:par>
                                    <p:cTn id="17" presetID="2" presetClass="entr" presetSubtype="4" accel="20000" fill="hold" nodeType="withEffect">
                                      <p:stCondLst>
                                        <p:cond delay="30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1500" fill="hold"/>
                                            <p:tgtEl>
                                              <p:spTgt spid="20"/>
                                            </p:tgtEl>
                                            <p:attrNameLst>
                                              <p:attrName>ppt_x</p:attrName>
                                            </p:attrNameLst>
                                          </p:cBhvr>
                                          <p:tavLst>
                                            <p:tav tm="0">
                                              <p:val>
                                                <p:strVal val="#ppt_x"/>
                                              </p:val>
                                            </p:tav>
                                            <p:tav tm="100000">
                                              <p:val>
                                                <p:strVal val="#ppt_x"/>
                                              </p:val>
                                            </p:tav>
                                          </p:tavLst>
                                        </p:anim>
                                        <p:anim calcmode="lin" valueType="num">
                                          <p:cBhvr additive="base">
                                            <p:cTn id="20" dur="1500" fill="hold"/>
                                            <p:tgtEl>
                                              <p:spTgt spid="20"/>
                                            </p:tgtEl>
                                            <p:attrNameLst>
                                              <p:attrName>ppt_y</p:attrName>
                                            </p:attrNameLst>
                                          </p:cBhvr>
                                          <p:tavLst>
                                            <p:tav tm="0">
                                              <p:val>
                                                <p:strVal val="1+#ppt_h/2"/>
                                              </p:val>
                                            </p:tav>
                                            <p:tav tm="100000">
                                              <p:val>
                                                <p:strVal val="#ppt_y"/>
                                              </p:val>
                                            </p:tav>
                                          </p:tavLst>
                                        </p:anim>
                                      </p:childTnLst>
                                    </p:cTn>
                                  </p:par>
                                  <p:par>
                                    <p:cTn id="21" presetID="2" presetClass="entr" presetSubtype="4" accel="20000" fill="hold" nodeType="withEffect">
                                      <p:stCondLst>
                                        <p:cond delay="40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1500" fill="hold"/>
                                            <p:tgtEl>
                                              <p:spTgt spid="21"/>
                                            </p:tgtEl>
                                            <p:attrNameLst>
                                              <p:attrName>ppt_x</p:attrName>
                                            </p:attrNameLst>
                                          </p:cBhvr>
                                          <p:tavLst>
                                            <p:tav tm="0">
                                              <p:val>
                                                <p:strVal val="#ppt_x"/>
                                              </p:val>
                                            </p:tav>
                                            <p:tav tm="100000">
                                              <p:val>
                                                <p:strVal val="#ppt_x"/>
                                              </p:val>
                                            </p:tav>
                                          </p:tavLst>
                                        </p:anim>
                                        <p:anim calcmode="lin" valueType="num">
                                          <p:cBhvr additive="base">
                                            <p:cTn id="24" dur="1500" fill="hold"/>
                                            <p:tgtEl>
                                              <p:spTgt spid="21"/>
                                            </p:tgtEl>
                                            <p:attrNameLst>
                                              <p:attrName>ppt_y</p:attrName>
                                            </p:attrNameLst>
                                          </p:cBhvr>
                                          <p:tavLst>
                                            <p:tav tm="0">
                                              <p:val>
                                                <p:strVal val="1+#ppt_h/2"/>
                                              </p:val>
                                            </p:tav>
                                            <p:tav tm="100000">
                                              <p:val>
                                                <p:strVal val="#ppt_y"/>
                                              </p:val>
                                            </p:tav>
                                          </p:tavLst>
                                        </p:anim>
                                      </p:childTnLst>
                                    </p:cTn>
                                  </p:par>
                                  <p:par>
                                    <p:cTn id="25" presetID="49" presetClass="entr" presetSubtype="0" decel="100000" fill="hold" grpId="0" nodeType="withEffect">
                                      <p:stCondLst>
                                        <p:cond delay="250"/>
                                      </p:stCondLst>
                                      <p:childTnLst>
                                        <p:set>
                                          <p:cBhvr>
                                            <p:cTn id="26" dur="1" fill="hold">
                                              <p:stCondLst>
                                                <p:cond delay="0"/>
                                              </p:stCondLst>
                                            </p:cTn>
                                            <p:tgtEl>
                                              <p:spTgt spid="22"/>
                                            </p:tgtEl>
                                            <p:attrNameLst>
                                              <p:attrName>style.visibility</p:attrName>
                                            </p:attrNameLst>
                                          </p:cBhvr>
                                          <p:to>
                                            <p:strVal val="visible"/>
                                          </p:to>
                                        </p:set>
                                        <p:anim calcmode="lin" valueType="num">
                                          <p:cBhvr>
                                            <p:cTn id="27" dur="300" fill="hold"/>
                                            <p:tgtEl>
                                              <p:spTgt spid="22"/>
                                            </p:tgtEl>
                                            <p:attrNameLst>
                                              <p:attrName>ppt_w</p:attrName>
                                            </p:attrNameLst>
                                          </p:cBhvr>
                                          <p:tavLst>
                                            <p:tav tm="0">
                                              <p:val>
                                                <p:fltVal val="0"/>
                                              </p:val>
                                            </p:tav>
                                            <p:tav tm="100000">
                                              <p:val>
                                                <p:strVal val="#ppt_w"/>
                                              </p:val>
                                            </p:tav>
                                          </p:tavLst>
                                        </p:anim>
                                        <p:anim calcmode="lin" valueType="num">
                                          <p:cBhvr>
                                            <p:cTn id="28" dur="300" fill="hold"/>
                                            <p:tgtEl>
                                              <p:spTgt spid="22"/>
                                            </p:tgtEl>
                                            <p:attrNameLst>
                                              <p:attrName>ppt_h</p:attrName>
                                            </p:attrNameLst>
                                          </p:cBhvr>
                                          <p:tavLst>
                                            <p:tav tm="0">
                                              <p:val>
                                                <p:fltVal val="0"/>
                                              </p:val>
                                            </p:tav>
                                            <p:tav tm="100000">
                                              <p:val>
                                                <p:strVal val="#ppt_h"/>
                                              </p:val>
                                            </p:tav>
                                          </p:tavLst>
                                        </p:anim>
                                        <p:anim calcmode="lin" valueType="num">
                                          <p:cBhvr>
                                            <p:cTn id="29" dur="300" fill="hold"/>
                                            <p:tgtEl>
                                              <p:spTgt spid="22"/>
                                            </p:tgtEl>
                                            <p:attrNameLst>
                                              <p:attrName>style.rotation</p:attrName>
                                            </p:attrNameLst>
                                          </p:cBhvr>
                                          <p:tavLst>
                                            <p:tav tm="0">
                                              <p:val>
                                                <p:fltVal val="360"/>
                                              </p:val>
                                            </p:tav>
                                            <p:tav tm="100000">
                                              <p:val>
                                                <p:fltVal val="0"/>
                                              </p:val>
                                            </p:tav>
                                          </p:tavLst>
                                        </p:anim>
                                        <p:animEffect transition="in" filter="fade">
                                          <p:cBhvr>
                                            <p:cTn id="30" dur="300"/>
                                            <p:tgtEl>
                                              <p:spTgt spid="22"/>
                                            </p:tgtEl>
                                          </p:cBhvr>
                                        </p:animEffect>
                                      </p:childTnLst>
                                    </p:cTn>
                                  </p:par>
                                  <p:par>
                                    <p:cTn id="31" presetID="10" presetClass="entr" presetSubtype="0" fill="hold" nodeType="withEffect">
                                      <p:stCondLst>
                                        <p:cond delay="250"/>
                                      </p:stCondLst>
                                      <p:childTnLst>
                                        <p:set>
                                          <p:cBhvr>
                                            <p:cTn id="32" dur="1" fill="hold">
                                              <p:stCondLst>
                                                <p:cond delay="0"/>
                                              </p:stCondLst>
                                            </p:cTn>
                                            <p:tgtEl>
                                              <p:spTgt spid="5"/>
                                            </p:tgtEl>
                                            <p:attrNameLst>
                                              <p:attrName>style.visibility</p:attrName>
                                            </p:attrNameLst>
                                          </p:cBhvr>
                                          <p:to>
                                            <p:strVal val="visible"/>
                                          </p:to>
                                        </p:set>
                                        <p:animEffect transition="in" filter="fade">
                                          <p:cBhvr>
                                            <p:cTn id="33" dur="250"/>
                                            <p:tgtEl>
                                              <p:spTgt spid="5"/>
                                            </p:tgtEl>
                                          </p:cBhvr>
                                        </p:animEffect>
                                      </p:childTnLst>
                                    </p:cTn>
                                  </p:par>
                                  <p:par>
                                    <p:cTn id="34" presetID="49" presetClass="entr" presetSubtype="0" decel="100000" fill="hold" grpId="0" nodeType="withEffect">
                                      <p:stCondLst>
                                        <p:cond delay="400"/>
                                      </p:stCondLst>
                                      <p:childTnLst>
                                        <p:set>
                                          <p:cBhvr>
                                            <p:cTn id="35" dur="1" fill="hold">
                                              <p:stCondLst>
                                                <p:cond delay="0"/>
                                              </p:stCondLst>
                                            </p:cTn>
                                            <p:tgtEl>
                                              <p:spTgt spid="46"/>
                                            </p:tgtEl>
                                            <p:attrNameLst>
                                              <p:attrName>style.visibility</p:attrName>
                                            </p:attrNameLst>
                                          </p:cBhvr>
                                          <p:to>
                                            <p:strVal val="visible"/>
                                          </p:to>
                                        </p:set>
                                        <p:anim calcmode="lin" valueType="num">
                                          <p:cBhvr>
                                            <p:cTn id="36" dur="300" fill="hold"/>
                                            <p:tgtEl>
                                              <p:spTgt spid="46"/>
                                            </p:tgtEl>
                                            <p:attrNameLst>
                                              <p:attrName>ppt_w</p:attrName>
                                            </p:attrNameLst>
                                          </p:cBhvr>
                                          <p:tavLst>
                                            <p:tav tm="0">
                                              <p:val>
                                                <p:fltVal val="0"/>
                                              </p:val>
                                            </p:tav>
                                            <p:tav tm="100000">
                                              <p:val>
                                                <p:strVal val="#ppt_w"/>
                                              </p:val>
                                            </p:tav>
                                          </p:tavLst>
                                        </p:anim>
                                        <p:anim calcmode="lin" valueType="num">
                                          <p:cBhvr>
                                            <p:cTn id="37" dur="300" fill="hold"/>
                                            <p:tgtEl>
                                              <p:spTgt spid="46"/>
                                            </p:tgtEl>
                                            <p:attrNameLst>
                                              <p:attrName>ppt_h</p:attrName>
                                            </p:attrNameLst>
                                          </p:cBhvr>
                                          <p:tavLst>
                                            <p:tav tm="0">
                                              <p:val>
                                                <p:fltVal val="0"/>
                                              </p:val>
                                            </p:tav>
                                            <p:tav tm="100000">
                                              <p:val>
                                                <p:strVal val="#ppt_h"/>
                                              </p:val>
                                            </p:tav>
                                          </p:tavLst>
                                        </p:anim>
                                        <p:anim calcmode="lin" valueType="num">
                                          <p:cBhvr>
                                            <p:cTn id="38" dur="300" fill="hold"/>
                                            <p:tgtEl>
                                              <p:spTgt spid="46"/>
                                            </p:tgtEl>
                                            <p:attrNameLst>
                                              <p:attrName>style.rotation</p:attrName>
                                            </p:attrNameLst>
                                          </p:cBhvr>
                                          <p:tavLst>
                                            <p:tav tm="0">
                                              <p:val>
                                                <p:fltVal val="360"/>
                                              </p:val>
                                            </p:tav>
                                            <p:tav tm="100000">
                                              <p:val>
                                                <p:fltVal val="0"/>
                                              </p:val>
                                            </p:tav>
                                          </p:tavLst>
                                        </p:anim>
                                        <p:animEffect transition="in" filter="fade">
                                          <p:cBhvr>
                                            <p:cTn id="39" dur="300"/>
                                            <p:tgtEl>
                                              <p:spTgt spid="46"/>
                                            </p:tgtEl>
                                          </p:cBhvr>
                                        </p:animEffect>
                                      </p:childTnLst>
                                    </p:cTn>
                                  </p:par>
                                  <p:par>
                                    <p:cTn id="40" presetID="10" presetClass="entr" presetSubtype="0" fill="hold" nodeType="withEffect">
                                      <p:stCondLst>
                                        <p:cond delay="40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250"/>
                                            <p:tgtEl>
                                              <p:spTgt spid="33"/>
                                            </p:tgtEl>
                                          </p:cBhvr>
                                        </p:animEffect>
                                      </p:childTnLst>
                                    </p:cTn>
                                  </p:par>
                                  <p:par>
                                    <p:cTn id="43" presetID="49" presetClass="entr" presetSubtype="0" decel="100000" fill="hold" grpId="0" nodeType="withEffect">
                                      <p:stCondLst>
                                        <p:cond delay="500"/>
                                      </p:stCondLst>
                                      <p:childTnLst>
                                        <p:set>
                                          <p:cBhvr>
                                            <p:cTn id="44" dur="1" fill="hold">
                                              <p:stCondLst>
                                                <p:cond delay="0"/>
                                              </p:stCondLst>
                                            </p:cTn>
                                            <p:tgtEl>
                                              <p:spTgt spid="24"/>
                                            </p:tgtEl>
                                            <p:attrNameLst>
                                              <p:attrName>style.visibility</p:attrName>
                                            </p:attrNameLst>
                                          </p:cBhvr>
                                          <p:to>
                                            <p:strVal val="visible"/>
                                          </p:to>
                                        </p:set>
                                        <p:anim calcmode="lin" valueType="num">
                                          <p:cBhvr>
                                            <p:cTn id="45" dur="300" fill="hold"/>
                                            <p:tgtEl>
                                              <p:spTgt spid="24"/>
                                            </p:tgtEl>
                                            <p:attrNameLst>
                                              <p:attrName>ppt_w</p:attrName>
                                            </p:attrNameLst>
                                          </p:cBhvr>
                                          <p:tavLst>
                                            <p:tav tm="0">
                                              <p:val>
                                                <p:fltVal val="0"/>
                                              </p:val>
                                            </p:tav>
                                            <p:tav tm="100000">
                                              <p:val>
                                                <p:strVal val="#ppt_w"/>
                                              </p:val>
                                            </p:tav>
                                          </p:tavLst>
                                        </p:anim>
                                        <p:anim calcmode="lin" valueType="num">
                                          <p:cBhvr>
                                            <p:cTn id="46" dur="300" fill="hold"/>
                                            <p:tgtEl>
                                              <p:spTgt spid="24"/>
                                            </p:tgtEl>
                                            <p:attrNameLst>
                                              <p:attrName>ppt_h</p:attrName>
                                            </p:attrNameLst>
                                          </p:cBhvr>
                                          <p:tavLst>
                                            <p:tav tm="0">
                                              <p:val>
                                                <p:fltVal val="0"/>
                                              </p:val>
                                            </p:tav>
                                            <p:tav tm="100000">
                                              <p:val>
                                                <p:strVal val="#ppt_h"/>
                                              </p:val>
                                            </p:tav>
                                          </p:tavLst>
                                        </p:anim>
                                        <p:anim calcmode="lin" valueType="num">
                                          <p:cBhvr>
                                            <p:cTn id="47" dur="300" fill="hold"/>
                                            <p:tgtEl>
                                              <p:spTgt spid="24"/>
                                            </p:tgtEl>
                                            <p:attrNameLst>
                                              <p:attrName>style.rotation</p:attrName>
                                            </p:attrNameLst>
                                          </p:cBhvr>
                                          <p:tavLst>
                                            <p:tav tm="0">
                                              <p:val>
                                                <p:fltVal val="360"/>
                                              </p:val>
                                            </p:tav>
                                            <p:tav tm="100000">
                                              <p:val>
                                                <p:fltVal val="0"/>
                                              </p:val>
                                            </p:tav>
                                          </p:tavLst>
                                        </p:anim>
                                        <p:animEffect transition="in" filter="fade">
                                          <p:cBhvr>
                                            <p:cTn id="48" dur="300"/>
                                            <p:tgtEl>
                                              <p:spTgt spid="24"/>
                                            </p:tgtEl>
                                          </p:cBhvr>
                                        </p:animEffect>
                                      </p:childTnLst>
                                    </p:cTn>
                                  </p:par>
                                  <p:par>
                                    <p:cTn id="49" presetID="10" presetClass="entr" presetSubtype="0" fill="hold" nodeType="withEffect">
                                      <p:stCondLst>
                                        <p:cond delay="500"/>
                                      </p:stCondLst>
                                      <p:childTnLst>
                                        <p:set>
                                          <p:cBhvr>
                                            <p:cTn id="50" dur="1" fill="hold">
                                              <p:stCondLst>
                                                <p:cond delay="0"/>
                                              </p:stCondLst>
                                            </p:cTn>
                                            <p:tgtEl>
                                              <p:spTgt spid="50"/>
                                            </p:tgtEl>
                                            <p:attrNameLst>
                                              <p:attrName>style.visibility</p:attrName>
                                            </p:attrNameLst>
                                          </p:cBhvr>
                                          <p:to>
                                            <p:strVal val="visible"/>
                                          </p:to>
                                        </p:set>
                                        <p:animEffect transition="in" filter="fade">
                                          <p:cBhvr>
                                            <p:cTn id="51" dur="250"/>
                                            <p:tgtEl>
                                              <p:spTgt spid="50"/>
                                            </p:tgtEl>
                                          </p:cBhvr>
                                        </p:animEffect>
                                      </p:childTnLst>
                                    </p:cTn>
                                  </p:par>
                                  <p:par>
                                    <p:cTn id="52" presetID="49" presetClass="entr" presetSubtype="0" decel="100000" fill="hold" grpId="0" nodeType="withEffect">
                                      <p:stCondLst>
                                        <p:cond delay="600"/>
                                      </p:stCondLst>
                                      <p:childTnLst>
                                        <p:set>
                                          <p:cBhvr>
                                            <p:cTn id="53" dur="1" fill="hold">
                                              <p:stCondLst>
                                                <p:cond delay="0"/>
                                              </p:stCondLst>
                                            </p:cTn>
                                            <p:tgtEl>
                                              <p:spTgt spid="48"/>
                                            </p:tgtEl>
                                            <p:attrNameLst>
                                              <p:attrName>style.visibility</p:attrName>
                                            </p:attrNameLst>
                                          </p:cBhvr>
                                          <p:to>
                                            <p:strVal val="visible"/>
                                          </p:to>
                                        </p:set>
                                        <p:anim calcmode="lin" valueType="num">
                                          <p:cBhvr>
                                            <p:cTn id="54" dur="300" fill="hold"/>
                                            <p:tgtEl>
                                              <p:spTgt spid="48"/>
                                            </p:tgtEl>
                                            <p:attrNameLst>
                                              <p:attrName>ppt_w</p:attrName>
                                            </p:attrNameLst>
                                          </p:cBhvr>
                                          <p:tavLst>
                                            <p:tav tm="0">
                                              <p:val>
                                                <p:fltVal val="0"/>
                                              </p:val>
                                            </p:tav>
                                            <p:tav tm="100000">
                                              <p:val>
                                                <p:strVal val="#ppt_w"/>
                                              </p:val>
                                            </p:tav>
                                          </p:tavLst>
                                        </p:anim>
                                        <p:anim calcmode="lin" valueType="num">
                                          <p:cBhvr>
                                            <p:cTn id="55" dur="300" fill="hold"/>
                                            <p:tgtEl>
                                              <p:spTgt spid="48"/>
                                            </p:tgtEl>
                                            <p:attrNameLst>
                                              <p:attrName>ppt_h</p:attrName>
                                            </p:attrNameLst>
                                          </p:cBhvr>
                                          <p:tavLst>
                                            <p:tav tm="0">
                                              <p:val>
                                                <p:fltVal val="0"/>
                                              </p:val>
                                            </p:tav>
                                            <p:tav tm="100000">
                                              <p:val>
                                                <p:strVal val="#ppt_h"/>
                                              </p:val>
                                            </p:tav>
                                          </p:tavLst>
                                        </p:anim>
                                        <p:anim calcmode="lin" valueType="num">
                                          <p:cBhvr>
                                            <p:cTn id="56" dur="300" fill="hold"/>
                                            <p:tgtEl>
                                              <p:spTgt spid="48"/>
                                            </p:tgtEl>
                                            <p:attrNameLst>
                                              <p:attrName>style.rotation</p:attrName>
                                            </p:attrNameLst>
                                          </p:cBhvr>
                                          <p:tavLst>
                                            <p:tav tm="0">
                                              <p:val>
                                                <p:fltVal val="360"/>
                                              </p:val>
                                            </p:tav>
                                            <p:tav tm="100000">
                                              <p:val>
                                                <p:fltVal val="0"/>
                                              </p:val>
                                            </p:tav>
                                          </p:tavLst>
                                        </p:anim>
                                        <p:animEffect transition="in" filter="fade">
                                          <p:cBhvr>
                                            <p:cTn id="57" dur="300"/>
                                            <p:tgtEl>
                                              <p:spTgt spid="48"/>
                                            </p:tgtEl>
                                          </p:cBhvr>
                                        </p:animEffect>
                                      </p:childTnLst>
                                    </p:cTn>
                                  </p:par>
                                  <p:par>
                                    <p:cTn id="58" presetID="10" presetClass="entr" presetSubtype="0" fill="hold" nodeType="withEffect">
                                      <p:stCondLst>
                                        <p:cond delay="600"/>
                                      </p:stCondLst>
                                      <p:childTnLst>
                                        <p:set>
                                          <p:cBhvr>
                                            <p:cTn id="59" dur="1" fill="hold">
                                              <p:stCondLst>
                                                <p:cond delay="0"/>
                                              </p:stCondLst>
                                            </p:cTn>
                                            <p:tgtEl>
                                              <p:spTgt spid="39"/>
                                            </p:tgtEl>
                                            <p:attrNameLst>
                                              <p:attrName>style.visibility</p:attrName>
                                            </p:attrNameLst>
                                          </p:cBhvr>
                                          <p:to>
                                            <p:strVal val="visible"/>
                                          </p:to>
                                        </p:set>
                                        <p:animEffect transition="in" filter="fade">
                                          <p:cBhvr>
                                            <p:cTn id="60" dur="250"/>
                                            <p:tgtEl>
                                              <p:spTgt spid="39"/>
                                            </p:tgtEl>
                                          </p:cBhvr>
                                        </p:animEffect>
                                      </p:childTnLst>
                                    </p:cTn>
                                  </p:par>
                                  <p:par>
                                    <p:cTn id="61" presetID="49" presetClass="entr" presetSubtype="0" decel="100000" fill="hold" grpId="0" nodeType="withEffect">
                                      <p:stCondLst>
                                        <p:cond delay="700"/>
                                      </p:stCondLst>
                                      <p:childTnLst>
                                        <p:set>
                                          <p:cBhvr>
                                            <p:cTn id="62" dur="1" fill="hold">
                                              <p:stCondLst>
                                                <p:cond delay="0"/>
                                              </p:stCondLst>
                                            </p:cTn>
                                            <p:tgtEl>
                                              <p:spTgt spid="26"/>
                                            </p:tgtEl>
                                            <p:attrNameLst>
                                              <p:attrName>style.visibility</p:attrName>
                                            </p:attrNameLst>
                                          </p:cBhvr>
                                          <p:to>
                                            <p:strVal val="visible"/>
                                          </p:to>
                                        </p:set>
                                        <p:anim calcmode="lin" valueType="num">
                                          <p:cBhvr>
                                            <p:cTn id="63" dur="300" fill="hold"/>
                                            <p:tgtEl>
                                              <p:spTgt spid="26"/>
                                            </p:tgtEl>
                                            <p:attrNameLst>
                                              <p:attrName>ppt_w</p:attrName>
                                            </p:attrNameLst>
                                          </p:cBhvr>
                                          <p:tavLst>
                                            <p:tav tm="0">
                                              <p:val>
                                                <p:fltVal val="0"/>
                                              </p:val>
                                            </p:tav>
                                            <p:tav tm="100000">
                                              <p:val>
                                                <p:strVal val="#ppt_w"/>
                                              </p:val>
                                            </p:tav>
                                          </p:tavLst>
                                        </p:anim>
                                        <p:anim calcmode="lin" valueType="num">
                                          <p:cBhvr>
                                            <p:cTn id="64" dur="300" fill="hold"/>
                                            <p:tgtEl>
                                              <p:spTgt spid="26"/>
                                            </p:tgtEl>
                                            <p:attrNameLst>
                                              <p:attrName>ppt_h</p:attrName>
                                            </p:attrNameLst>
                                          </p:cBhvr>
                                          <p:tavLst>
                                            <p:tav tm="0">
                                              <p:val>
                                                <p:fltVal val="0"/>
                                              </p:val>
                                            </p:tav>
                                            <p:tav tm="100000">
                                              <p:val>
                                                <p:strVal val="#ppt_h"/>
                                              </p:val>
                                            </p:tav>
                                          </p:tavLst>
                                        </p:anim>
                                        <p:anim calcmode="lin" valueType="num">
                                          <p:cBhvr>
                                            <p:cTn id="65" dur="300" fill="hold"/>
                                            <p:tgtEl>
                                              <p:spTgt spid="26"/>
                                            </p:tgtEl>
                                            <p:attrNameLst>
                                              <p:attrName>style.rotation</p:attrName>
                                            </p:attrNameLst>
                                          </p:cBhvr>
                                          <p:tavLst>
                                            <p:tav tm="0">
                                              <p:val>
                                                <p:fltVal val="360"/>
                                              </p:val>
                                            </p:tav>
                                            <p:tav tm="100000">
                                              <p:val>
                                                <p:fltVal val="0"/>
                                              </p:val>
                                            </p:tav>
                                          </p:tavLst>
                                        </p:anim>
                                        <p:animEffect transition="in" filter="fade">
                                          <p:cBhvr>
                                            <p:cTn id="66" dur="300"/>
                                            <p:tgtEl>
                                              <p:spTgt spid="26"/>
                                            </p:tgtEl>
                                          </p:cBhvr>
                                        </p:animEffect>
                                      </p:childTnLst>
                                    </p:cTn>
                                  </p:par>
                                  <p:par>
                                    <p:cTn id="67" presetID="10" presetClass="entr" presetSubtype="0" fill="hold" nodeType="withEffect">
                                      <p:stCondLst>
                                        <p:cond delay="700"/>
                                      </p:stCondLst>
                                      <p:childTnLst>
                                        <p:set>
                                          <p:cBhvr>
                                            <p:cTn id="68" dur="1" fill="hold">
                                              <p:stCondLst>
                                                <p:cond delay="0"/>
                                              </p:stCondLst>
                                            </p:cTn>
                                            <p:tgtEl>
                                              <p:spTgt spid="43"/>
                                            </p:tgtEl>
                                            <p:attrNameLst>
                                              <p:attrName>style.visibility</p:attrName>
                                            </p:attrNameLst>
                                          </p:cBhvr>
                                          <p:to>
                                            <p:strVal val="visible"/>
                                          </p:to>
                                        </p:set>
                                        <p:animEffect transition="in" filter="fade">
                                          <p:cBhvr>
                                            <p:cTn id="69" dur="250"/>
                                            <p:tgtEl>
                                              <p:spTgt spid="43"/>
                                            </p:tgtEl>
                                          </p:cBhvr>
                                        </p:animEffect>
                                      </p:childTnLst>
                                    </p:cTn>
                                  </p:par>
                                  <p:par>
                                    <p:cTn id="70" presetID="10" presetClass="entr" presetSubtype="0" fill="hold" grpId="0" nodeType="withEffect">
                                      <p:stCondLst>
                                        <p:cond delay="30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300"/>
                                            <p:tgtEl>
                                              <p:spTgt spid="23"/>
                                            </p:tgtEl>
                                          </p:cBhvr>
                                        </p:animEffect>
                                      </p:childTnLst>
                                    </p:cTn>
                                  </p:par>
                                  <p:par>
                                    <p:cTn id="73" presetID="10" presetClass="entr" presetSubtype="0" fill="hold" grpId="0" nodeType="withEffect">
                                      <p:stCondLst>
                                        <p:cond delay="400"/>
                                      </p:stCondLst>
                                      <p:childTnLst>
                                        <p:set>
                                          <p:cBhvr>
                                            <p:cTn id="74" dur="1" fill="hold">
                                              <p:stCondLst>
                                                <p:cond delay="0"/>
                                              </p:stCondLst>
                                            </p:cTn>
                                            <p:tgtEl>
                                              <p:spTgt spid="47"/>
                                            </p:tgtEl>
                                            <p:attrNameLst>
                                              <p:attrName>style.visibility</p:attrName>
                                            </p:attrNameLst>
                                          </p:cBhvr>
                                          <p:to>
                                            <p:strVal val="visible"/>
                                          </p:to>
                                        </p:set>
                                        <p:animEffect transition="in" filter="fade">
                                          <p:cBhvr>
                                            <p:cTn id="75" dur="300"/>
                                            <p:tgtEl>
                                              <p:spTgt spid="47"/>
                                            </p:tgtEl>
                                          </p:cBhvr>
                                        </p:animEffect>
                                      </p:childTnLst>
                                    </p:cTn>
                                  </p:par>
                                  <p:par>
                                    <p:cTn id="76" presetID="10" presetClass="entr" presetSubtype="0" fill="hold" grpId="0" nodeType="withEffect">
                                      <p:stCondLst>
                                        <p:cond delay="500"/>
                                      </p:stCondLst>
                                      <p:childTnLst>
                                        <p:set>
                                          <p:cBhvr>
                                            <p:cTn id="77" dur="1" fill="hold">
                                              <p:stCondLst>
                                                <p:cond delay="0"/>
                                              </p:stCondLst>
                                            </p:cTn>
                                            <p:tgtEl>
                                              <p:spTgt spid="25"/>
                                            </p:tgtEl>
                                            <p:attrNameLst>
                                              <p:attrName>style.visibility</p:attrName>
                                            </p:attrNameLst>
                                          </p:cBhvr>
                                          <p:to>
                                            <p:strVal val="visible"/>
                                          </p:to>
                                        </p:set>
                                        <p:animEffect transition="in" filter="fade">
                                          <p:cBhvr>
                                            <p:cTn id="78" dur="300"/>
                                            <p:tgtEl>
                                              <p:spTgt spid="25"/>
                                            </p:tgtEl>
                                          </p:cBhvr>
                                        </p:animEffect>
                                      </p:childTnLst>
                                    </p:cTn>
                                  </p:par>
                                  <p:par>
                                    <p:cTn id="79" presetID="10" presetClass="entr" presetSubtype="0" fill="hold" grpId="0" nodeType="withEffect">
                                      <p:stCondLst>
                                        <p:cond delay="600"/>
                                      </p:stCondLst>
                                      <p:childTnLst>
                                        <p:set>
                                          <p:cBhvr>
                                            <p:cTn id="80" dur="1" fill="hold">
                                              <p:stCondLst>
                                                <p:cond delay="0"/>
                                              </p:stCondLst>
                                            </p:cTn>
                                            <p:tgtEl>
                                              <p:spTgt spid="49"/>
                                            </p:tgtEl>
                                            <p:attrNameLst>
                                              <p:attrName>style.visibility</p:attrName>
                                            </p:attrNameLst>
                                          </p:cBhvr>
                                          <p:to>
                                            <p:strVal val="visible"/>
                                          </p:to>
                                        </p:set>
                                        <p:animEffect transition="in" filter="fade">
                                          <p:cBhvr>
                                            <p:cTn id="81" dur="300"/>
                                            <p:tgtEl>
                                              <p:spTgt spid="49"/>
                                            </p:tgtEl>
                                          </p:cBhvr>
                                        </p:animEffect>
                                      </p:childTnLst>
                                    </p:cTn>
                                  </p:par>
                                  <p:par>
                                    <p:cTn id="82" presetID="10" presetClass="entr" presetSubtype="0" fill="hold" grpId="0" nodeType="withEffect">
                                      <p:stCondLst>
                                        <p:cond delay="70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3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2" grpId="0" animBg="1"/>
          <p:bldP spid="23" grpId="0"/>
          <p:bldP spid="24" grpId="0" animBg="1"/>
          <p:bldP spid="25" grpId="0"/>
          <p:bldP spid="26" grpId="0" animBg="1"/>
          <p:bldP spid="27" grpId="0"/>
          <p:bldP spid="46" grpId="0" animBg="1"/>
          <p:bldP spid="47" grpId="0"/>
          <p:bldP spid="48" grpId="0" animBg="1"/>
          <p:bldP spid="49" grpId="0"/>
        </p:bldLst>
      </p:timing>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925F6B9-BB81-F351-783B-A2DB2D224979}"/>
              </a:ext>
            </a:extLst>
          </p:cNvPr>
          <p:cNvSpPr>
            <a:spLocks noGrp="1"/>
          </p:cNvSpPr>
          <p:nvPr>
            <p:ph type="title"/>
          </p:nvPr>
        </p:nvSpPr>
        <p:spPr/>
        <p:txBody>
          <a:bodyPr/>
          <a:lstStyle/>
          <a:p>
            <a:r>
              <a:rPr lang="nb-NO" dirty="0"/>
              <a:t>Åpne data fra FNSP</a:t>
            </a:r>
          </a:p>
        </p:txBody>
      </p:sp>
      <p:pic>
        <p:nvPicPr>
          <p:cNvPr id="8" name="Grafikk 7" descr="Sky kontur">
            <a:extLst>
              <a:ext uri="{FF2B5EF4-FFF2-40B4-BE49-F238E27FC236}">
                <a16:creationId xmlns:a16="http://schemas.microsoft.com/office/drawing/2014/main" id="{B668D0FD-846B-0468-FB59-DADBFE4ED6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9956" y="1724293"/>
            <a:ext cx="1870785" cy="1870785"/>
          </a:xfrm>
          <a:prstGeom prst="rect">
            <a:avLst/>
          </a:prstGeom>
        </p:spPr>
      </p:pic>
      <p:pic>
        <p:nvPicPr>
          <p:cNvPr id="14" name="Grafikk 13" descr="Mappe kontur">
            <a:extLst>
              <a:ext uri="{FF2B5EF4-FFF2-40B4-BE49-F238E27FC236}">
                <a16:creationId xmlns:a16="http://schemas.microsoft.com/office/drawing/2014/main" id="{0822EB33-9A8F-7388-FE7E-F7E13D1106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76625" y="657791"/>
            <a:ext cx="1474105" cy="1474105"/>
          </a:xfrm>
          <a:prstGeom prst="rect">
            <a:avLst/>
          </a:prstGeom>
        </p:spPr>
      </p:pic>
      <p:pic>
        <p:nvPicPr>
          <p:cNvPr id="15" name="Grafikk 14" descr="Mappe kontur">
            <a:extLst>
              <a:ext uri="{FF2B5EF4-FFF2-40B4-BE49-F238E27FC236}">
                <a16:creationId xmlns:a16="http://schemas.microsoft.com/office/drawing/2014/main" id="{BB72DCC8-67FE-09AB-45A1-411068BE6F2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53579" y="3228105"/>
            <a:ext cx="1497151" cy="1497151"/>
          </a:xfrm>
          <a:prstGeom prst="rect">
            <a:avLst/>
          </a:prstGeom>
        </p:spPr>
      </p:pic>
      <p:pic>
        <p:nvPicPr>
          <p:cNvPr id="19" name="Grafikk 18" descr="Klasserom kontur">
            <a:extLst>
              <a:ext uri="{FF2B5EF4-FFF2-40B4-BE49-F238E27FC236}">
                <a16:creationId xmlns:a16="http://schemas.microsoft.com/office/drawing/2014/main" id="{A5D14932-2292-E729-C804-89A775FC7E3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16293" y="4375725"/>
            <a:ext cx="914400" cy="914400"/>
          </a:xfrm>
          <a:prstGeom prst="rect">
            <a:avLst/>
          </a:prstGeom>
        </p:spPr>
      </p:pic>
      <p:pic>
        <p:nvPicPr>
          <p:cNvPr id="21" name="Grafikk 20" descr="Tingenes internett kontur">
            <a:extLst>
              <a:ext uri="{FF2B5EF4-FFF2-40B4-BE49-F238E27FC236}">
                <a16:creationId xmlns:a16="http://schemas.microsoft.com/office/drawing/2014/main" id="{01D8D547-70CB-2B8C-F209-07489C90FE8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16861" y="1853905"/>
            <a:ext cx="1787372" cy="1787372"/>
          </a:xfrm>
          <a:prstGeom prst="rect">
            <a:avLst/>
          </a:prstGeom>
        </p:spPr>
      </p:pic>
      <p:pic>
        <p:nvPicPr>
          <p:cNvPr id="23" name="Grafikk 22" descr="Internettfellesskap kontur">
            <a:extLst>
              <a:ext uri="{FF2B5EF4-FFF2-40B4-BE49-F238E27FC236}">
                <a16:creationId xmlns:a16="http://schemas.microsoft.com/office/drawing/2014/main" id="{9404DA87-9440-0DD2-8741-390AA127B9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742144" y="1833191"/>
            <a:ext cx="914400" cy="914400"/>
          </a:xfrm>
          <a:prstGeom prst="rect">
            <a:avLst/>
          </a:prstGeom>
        </p:spPr>
      </p:pic>
      <p:pic>
        <p:nvPicPr>
          <p:cNvPr id="25" name="Grafikk 24" descr="UI og UX kontur">
            <a:extLst>
              <a:ext uri="{FF2B5EF4-FFF2-40B4-BE49-F238E27FC236}">
                <a16:creationId xmlns:a16="http://schemas.microsoft.com/office/drawing/2014/main" id="{EA460108-F110-7790-C23B-02010617678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766212" y="3130495"/>
            <a:ext cx="914400" cy="914400"/>
          </a:xfrm>
          <a:prstGeom prst="rect">
            <a:avLst/>
          </a:prstGeom>
        </p:spPr>
      </p:pic>
      <p:cxnSp>
        <p:nvCxnSpPr>
          <p:cNvPr id="27" name="Rett pilkobling 26">
            <a:extLst>
              <a:ext uri="{FF2B5EF4-FFF2-40B4-BE49-F238E27FC236}">
                <a16:creationId xmlns:a16="http://schemas.microsoft.com/office/drawing/2014/main" id="{26558FC0-5D17-8448-1A80-3D4FD0B66BD8}"/>
              </a:ext>
            </a:extLst>
          </p:cNvPr>
          <p:cNvCxnSpPr/>
          <p:nvPr/>
        </p:nvCxnSpPr>
        <p:spPr>
          <a:xfrm>
            <a:off x="2625438" y="2747591"/>
            <a:ext cx="692727" cy="0"/>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cxnSp>
        <p:nvCxnSpPr>
          <p:cNvPr id="28" name="Rett pilkobling 27">
            <a:extLst>
              <a:ext uri="{FF2B5EF4-FFF2-40B4-BE49-F238E27FC236}">
                <a16:creationId xmlns:a16="http://schemas.microsoft.com/office/drawing/2014/main" id="{9FBCEC53-FC46-B4C8-03D9-4DB5CC515AE9}"/>
              </a:ext>
            </a:extLst>
          </p:cNvPr>
          <p:cNvCxnSpPr>
            <a:cxnSpLocks/>
            <a:endCxn id="14" idx="1"/>
          </p:cNvCxnSpPr>
          <p:nvPr/>
        </p:nvCxnSpPr>
        <p:spPr>
          <a:xfrm flipV="1">
            <a:off x="5396534" y="1394844"/>
            <a:ext cx="980091" cy="737052"/>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cxnSp>
        <p:nvCxnSpPr>
          <p:cNvPr id="31" name="Rett pilkobling 30">
            <a:extLst>
              <a:ext uri="{FF2B5EF4-FFF2-40B4-BE49-F238E27FC236}">
                <a16:creationId xmlns:a16="http://schemas.microsoft.com/office/drawing/2014/main" id="{AE9A410E-CA8F-C7B5-79A1-F7EE3DA69C6E}"/>
              </a:ext>
            </a:extLst>
          </p:cNvPr>
          <p:cNvCxnSpPr>
            <a:cxnSpLocks/>
            <a:endCxn id="15" idx="1"/>
          </p:cNvCxnSpPr>
          <p:nvPr/>
        </p:nvCxnSpPr>
        <p:spPr>
          <a:xfrm>
            <a:off x="5476059" y="3228106"/>
            <a:ext cx="877520" cy="748575"/>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cxnSp>
        <p:nvCxnSpPr>
          <p:cNvPr id="33" name="Rett pilkobling 32">
            <a:extLst>
              <a:ext uri="{FF2B5EF4-FFF2-40B4-BE49-F238E27FC236}">
                <a16:creationId xmlns:a16="http://schemas.microsoft.com/office/drawing/2014/main" id="{381A86F4-09EA-97F9-A3C9-6CA60319D301}"/>
              </a:ext>
            </a:extLst>
          </p:cNvPr>
          <p:cNvCxnSpPr>
            <a:cxnSpLocks/>
          </p:cNvCxnSpPr>
          <p:nvPr/>
        </p:nvCxnSpPr>
        <p:spPr>
          <a:xfrm flipV="1">
            <a:off x="7826851" y="1232602"/>
            <a:ext cx="1646563" cy="303950"/>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cxnSp>
        <p:nvCxnSpPr>
          <p:cNvPr id="36" name="Rett pilkobling 35">
            <a:extLst>
              <a:ext uri="{FF2B5EF4-FFF2-40B4-BE49-F238E27FC236}">
                <a16:creationId xmlns:a16="http://schemas.microsoft.com/office/drawing/2014/main" id="{A36BE5C0-8E9D-8F37-BA96-4795451D0551}"/>
              </a:ext>
            </a:extLst>
          </p:cNvPr>
          <p:cNvCxnSpPr>
            <a:cxnSpLocks/>
            <a:endCxn id="23" idx="1"/>
          </p:cNvCxnSpPr>
          <p:nvPr/>
        </p:nvCxnSpPr>
        <p:spPr>
          <a:xfrm>
            <a:off x="7826851" y="1548769"/>
            <a:ext cx="1915293" cy="741622"/>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cxnSp>
        <p:nvCxnSpPr>
          <p:cNvPr id="39" name="Rett pilkobling 38">
            <a:extLst>
              <a:ext uri="{FF2B5EF4-FFF2-40B4-BE49-F238E27FC236}">
                <a16:creationId xmlns:a16="http://schemas.microsoft.com/office/drawing/2014/main" id="{BA8BDA3B-1D03-D0F4-8B4D-6A099FE14605}"/>
              </a:ext>
            </a:extLst>
          </p:cNvPr>
          <p:cNvCxnSpPr>
            <a:cxnSpLocks/>
          </p:cNvCxnSpPr>
          <p:nvPr/>
        </p:nvCxnSpPr>
        <p:spPr>
          <a:xfrm flipV="1">
            <a:off x="7850730" y="3633660"/>
            <a:ext cx="1608982" cy="401635"/>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cxnSp>
        <p:nvCxnSpPr>
          <p:cNvPr id="40" name="Rett pilkobling 39">
            <a:extLst>
              <a:ext uri="{FF2B5EF4-FFF2-40B4-BE49-F238E27FC236}">
                <a16:creationId xmlns:a16="http://schemas.microsoft.com/office/drawing/2014/main" id="{2B645D0A-FBEC-7CFF-022B-A0DFE523F882}"/>
              </a:ext>
            </a:extLst>
          </p:cNvPr>
          <p:cNvCxnSpPr>
            <a:cxnSpLocks/>
          </p:cNvCxnSpPr>
          <p:nvPr/>
        </p:nvCxnSpPr>
        <p:spPr>
          <a:xfrm>
            <a:off x="7873776" y="4040227"/>
            <a:ext cx="1754590" cy="666328"/>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sp>
        <p:nvSpPr>
          <p:cNvPr id="41" name="TekstSylinder 40">
            <a:extLst>
              <a:ext uri="{FF2B5EF4-FFF2-40B4-BE49-F238E27FC236}">
                <a16:creationId xmlns:a16="http://schemas.microsoft.com/office/drawing/2014/main" id="{DDB33A4E-4BB2-4016-3B06-AEDDFA507DEB}"/>
              </a:ext>
            </a:extLst>
          </p:cNvPr>
          <p:cNvSpPr txBox="1"/>
          <p:nvPr/>
        </p:nvSpPr>
        <p:spPr>
          <a:xfrm>
            <a:off x="1183374" y="2517984"/>
            <a:ext cx="1000595" cy="523220"/>
          </a:xfrm>
          <a:prstGeom prst="rect">
            <a:avLst/>
          </a:prstGeom>
          <a:noFill/>
        </p:spPr>
        <p:txBody>
          <a:bodyPr wrap="none" rtlCol="0">
            <a:spAutoFit/>
          </a:bodyPr>
          <a:lstStyle/>
          <a:p>
            <a:pPr algn="ctr"/>
            <a:r>
              <a:rPr lang="nb-NO" dirty="0"/>
              <a:t>Åpne data</a:t>
            </a:r>
            <a:br>
              <a:rPr lang="nb-NO" dirty="0"/>
            </a:br>
            <a:r>
              <a:rPr lang="nb-NO" dirty="0"/>
              <a:t>fra FNSP</a:t>
            </a:r>
          </a:p>
        </p:txBody>
      </p:sp>
      <p:sp>
        <p:nvSpPr>
          <p:cNvPr id="42" name="TekstSylinder 41">
            <a:extLst>
              <a:ext uri="{FF2B5EF4-FFF2-40B4-BE49-F238E27FC236}">
                <a16:creationId xmlns:a16="http://schemas.microsoft.com/office/drawing/2014/main" id="{FE912998-EFEF-F288-EACD-07AAC389259A}"/>
              </a:ext>
            </a:extLst>
          </p:cNvPr>
          <p:cNvSpPr txBox="1"/>
          <p:nvPr/>
        </p:nvSpPr>
        <p:spPr>
          <a:xfrm>
            <a:off x="3962334" y="2648750"/>
            <a:ext cx="840295" cy="307777"/>
          </a:xfrm>
          <a:prstGeom prst="rect">
            <a:avLst/>
          </a:prstGeom>
          <a:noFill/>
        </p:spPr>
        <p:txBody>
          <a:bodyPr wrap="none" rtlCol="0">
            <a:spAutoFit/>
          </a:bodyPr>
          <a:lstStyle/>
          <a:p>
            <a:pPr algn="ctr"/>
            <a:r>
              <a:rPr lang="nb-NO" dirty="0"/>
              <a:t>Internett</a:t>
            </a:r>
          </a:p>
        </p:txBody>
      </p:sp>
      <p:sp>
        <p:nvSpPr>
          <p:cNvPr id="43" name="TekstSylinder 42">
            <a:extLst>
              <a:ext uri="{FF2B5EF4-FFF2-40B4-BE49-F238E27FC236}">
                <a16:creationId xmlns:a16="http://schemas.microsoft.com/office/drawing/2014/main" id="{46B4459F-FA6F-6450-F862-A59D4AEA8F94}"/>
              </a:ext>
            </a:extLst>
          </p:cNvPr>
          <p:cNvSpPr txBox="1"/>
          <p:nvPr/>
        </p:nvSpPr>
        <p:spPr>
          <a:xfrm>
            <a:off x="6550807" y="1126817"/>
            <a:ext cx="1135466" cy="646331"/>
          </a:xfrm>
          <a:prstGeom prst="rect">
            <a:avLst/>
          </a:prstGeom>
          <a:noFill/>
        </p:spPr>
        <p:txBody>
          <a:bodyPr wrap="square" rtlCol="0">
            <a:spAutoFit/>
          </a:bodyPr>
          <a:lstStyle/>
          <a:p>
            <a:pPr algn="ctr"/>
            <a:r>
              <a:rPr lang="nb-NO" sz="1200" dirty="0"/>
              <a:t>Data fra helseforetak eller region?</a:t>
            </a:r>
          </a:p>
        </p:txBody>
      </p:sp>
      <p:sp>
        <p:nvSpPr>
          <p:cNvPr id="44" name="TekstSylinder 43">
            <a:extLst>
              <a:ext uri="{FF2B5EF4-FFF2-40B4-BE49-F238E27FC236}">
                <a16:creationId xmlns:a16="http://schemas.microsoft.com/office/drawing/2014/main" id="{3B4B3697-ADB2-4B94-ED05-84CE571AE385}"/>
              </a:ext>
            </a:extLst>
          </p:cNvPr>
          <p:cNvSpPr txBox="1"/>
          <p:nvPr/>
        </p:nvSpPr>
        <p:spPr>
          <a:xfrm>
            <a:off x="6598176" y="3690084"/>
            <a:ext cx="1055096" cy="646331"/>
          </a:xfrm>
          <a:prstGeom prst="rect">
            <a:avLst/>
          </a:prstGeom>
          <a:noFill/>
        </p:spPr>
        <p:txBody>
          <a:bodyPr wrap="none" rtlCol="0">
            <a:spAutoFit/>
          </a:bodyPr>
          <a:lstStyle/>
          <a:p>
            <a:pPr algn="ctr"/>
            <a:r>
              <a:rPr lang="nb-NO" sz="1200" dirty="0"/>
              <a:t>Data fra</a:t>
            </a:r>
          </a:p>
          <a:p>
            <a:pPr algn="ctr"/>
            <a:r>
              <a:rPr lang="nb-NO" sz="1200" dirty="0"/>
              <a:t>ditt</a:t>
            </a:r>
            <a:br>
              <a:rPr lang="nb-NO" sz="1200" dirty="0"/>
            </a:br>
            <a:r>
              <a:rPr lang="nb-NO" sz="1200" dirty="0"/>
              <a:t>datasystem?</a:t>
            </a:r>
          </a:p>
        </p:txBody>
      </p:sp>
      <p:pic>
        <p:nvPicPr>
          <p:cNvPr id="6" name="Grafikk 5" descr="Database kontur">
            <a:extLst>
              <a:ext uri="{FF2B5EF4-FFF2-40B4-BE49-F238E27FC236}">
                <a16:creationId xmlns:a16="http://schemas.microsoft.com/office/drawing/2014/main" id="{EAECA7C7-5D55-E129-794F-38C0F81AEE3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22039" y="2621706"/>
            <a:ext cx="383400" cy="383400"/>
          </a:xfrm>
          <a:prstGeom prst="rect">
            <a:avLst/>
          </a:prstGeom>
        </p:spPr>
      </p:pic>
      <p:pic>
        <p:nvPicPr>
          <p:cNvPr id="53" name="Grafikk 52" descr="Mappe kontur">
            <a:extLst>
              <a:ext uri="{FF2B5EF4-FFF2-40B4-BE49-F238E27FC236}">
                <a16:creationId xmlns:a16="http://schemas.microsoft.com/office/drawing/2014/main" id="{E4C164F6-1A92-F266-FF5E-7E45C2C870A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376625" y="2007205"/>
            <a:ext cx="1497151" cy="1497151"/>
          </a:xfrm>
          <a:prstGeom prst="rect">
            <a:avLst/>
          </a:prstGeom>
        </p:spPr>
      </p:pic>
      <p:sp>
        <p:nvSpPr>
          <p:cNvPr id="54" name="TekstSylinder 53">
            <a:extLst>
              <a:ext uri="{FF2B5EF4-FFF2-40B4-BE49-F238E27FC236}">
                <a16:creationId xmlns:a16="http://schemas.microsoft.com/office/drawing/2014/main" id="{D108852E-8DAD-6949-473E-6C82A314B5AD}"/>
              </a:ext>
            </a:extLst>
          </p:cNvPr>
          <p:cNvSpPr txBox="1"/>
          <p:nvPr/>
        </p:nvSpPr>
        <p:spPr>
          <a:xfrm>
            <a:off x="6632409" y="2463731"/>
            <a:ext cx="948569" cy="646331"/>
          </a:xfrm>
          <a:prstGeom prst="rect">
            <a:avLst/>
          </a:prstGeom>
          <a:noFill/>
        </p:spPr>
        <p:txBody>
          <a:bodyPr wrap="square" rtlCol="0">
            <a:spAutoFit/>
          </a:bodyPr>
          <a:lstStyle/>
          <a:p>
            <a:pPr algn="ctr"/>
            <a:r>
              <a:rPr lang="nb-NO" sz="1200" dirty="0"/>
              <a:t>Data fra pasient-journal?</a:t>
            </a:r>
          </a:p>
        </p:txBody>
      </p:sp>
      <p:cxnSp>
        <p:nvCxnSpPr>
          <p:cNvPr id="55" name="Rett pilkobling 54">
            <a:extLst>
              <a:ext uri="{FF2B5EF4-FFF2-40B4-BE49-F238E27FC236}">
                <a16:creationId xmlns:a16="http://schemas.microsoft.com/office/drawing/2014/main" id="{FA1CC4E7-AA71-D829-6E8B-FA065A677BA7}"/>
              </a:ext>
            </a:extLst>
          </p:cNvPr>
          <p:cNvCxnSpPr>
            <a:cxnSpLocks/>
            <a:endCxn id="53" idx="1"/>
          </p:cNvCxnSpPr>
          <p:nvPr/>
        </p:nvCxnSpPr>
        <p:spPr>
          <a:xfrm>
            <a:off x="5476059" y="2747591"/>
            <a:ext cx="900566" cy="8190"/>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cxnSp>
        <p:nvCxnSpPr>
          <p:cNvPr id="58" name="Rett pilkobling 57">
            <a:extLst>
              <a:ext uri="{FF2B5EF4-FFF2-40B4-BE49-F238E27FC236}">
                <a16:creationId xmlns:a16="http://schemas.microsoft.com/office/drawing/2014/main" id="{DF4A887A-C41F-650F-845F-76C554B796A1}"/>
              </a:ext>
            </a:extLst>
          </p:cNvPr>
          <p:cNvCxnSpPr>
            <a:cxnSpLocks/>
            <a:stCxn id="53" idx="3"/>
          </p:cNvCxnSpPr>
          <p:nvPr/>
        </p:nvCxnSpPr>
        <p:spPr>
          <a:xfrm flipV="1">
            <a:off x="7873776" y="2354146"/>
            <a:ext cx="1792171" cy="401635"/>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cxnSp>
        <p:nvCxnSpPr>
          <p:cNvPr id="60" name="Rett pilkobling 59">
            <a:extLst>
              <a:ext uri="{FF2B5EF4-FFF2-40B4-BE49-F238E27FC236}">
                <a16:creationId xmlns:a16="http://schemas.microsoft.com/office/drawing/2014/main" id="{45170FC9-FC34-B062-B9FC-38DA7D161E27}"/>
              </a:ext>
            </a:extLst>
          </p:cNvPr>
          <p:cNvCxnSpPr>
            <a:cxnSpLocks/>
          </p:cNvCxnSpPr>
          <p:nvPr/>
        </p:nvCxnSpPr>
        <p:spPr>
          <a:xfrm>
            <a:off x="7895427" y="2767998"/>
            <a:ext cx="1577987" cy="666328"/>
          </a:xfrm>
          <a:prstGeom prst="straightConnector1">
            <a:avLst/>
          </a:prstGeom>
          <a:ln>
            <a:solidFill>
              <a:srgbClr val="253776"/>
            </a:solidFill>
            <a:tailEnd type="triangle"/>
          </a:ln>
        </p:spPr>
        <p:style>
          <a:lnRef idx="1">
            <a:schemeClr val="accent1"/>
          </a:lnRef>
          <a:fillRef idx="0">
            <a:schemeClr val="accent1"/>
          </a:fillRef>
          <a:effectRef idx="0">
            <a:schemeClr val="accent1"/>
          </a:effectRef>
          <a:fontRef idx="minor">
            <a:schemeClr val="tx1"/>
          </a:fontRef>
        </p:style>
      </p:cxnSp>
      <p:pic>
        <p:nvPicPr>
          <p:cNvPr id="65" name="Grafikk 64" descr="Åpen konvolutt kontur">
            <a:extLst>
              <a:ext uri="{FF2B5EF4-FFF2-40B4-BE49-F238E27FC236}">
                <a16:creationId xmlns:a16="http://schemas.microsoft.com/office/drawing/2014/main" id="{8D431410-5214-E90F-5208-53FEA099E86C}"/>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799736" y="730330"/>
            <a:ext cx="747513" cy="747513"/>
          </a:xfrm>
          <a:prstGeom prst="rect">
            <a:avLst/>
          </a:prstGeom>
        </p:spPr>
      </p:pic>
      <p:sp>
        <p:nvSpPr>
          <p:cNvPr id="66" name="TextBox 24">
            <a:extLst>
              <a:ext uri="{FF2B5EF4-FFF2-40B4-BE49-F238E27FC236}">
                <a16:creationId xmlns:a16="http://schemas.microsoft.com/office/drawing/2014/main" id="{EB05F916-2050-F91D-5354-1AC617B2A0D0}"/>
              </a:ext>
            </a:extLst>
          </p:cNvPr>
          <p:cNvSpPr txBox="1"/>
          <p:nvPr/>
        </p:nvSpPr>
        <p:spPr>
          <a:xfrm>
            <a:off x="432737" y="3858490"/>
            <a:ext cx="3592008" cy="2778095"/>
          </a:xfrm>
          <a:prstGeom prst="rect">
            <a:avLst/>
          </a:prstGeom>
          <a:noFill/>
        </p:spPr>
        <p:txBody>
          <a:bodyPr wrap="square" rtlCol="0">
            <a:spAutoFit/>
          </a:bodyPr>
          <a:lstStyle/>
          <a:p>
            <a:r>
              <a:rPr lang="nb-NO" sz="1600" dirty="0">
                <a:latin typeface="Microsoft YaHei UI Light" panose="020B0502040204020203" pitchFamily="34" charset="-122"/>
                <a:ea typeface="Microsoft YaHei UI Light" panose="020B0502040204020203" pitchFamily="34" charset="-122"/>
              </a:rPr>
              <a:t>Standardiserte Kodeverk</a:t>
            </a:r>
          </a:p>
          <a:p>
            <a:pPr marL="171450" indent="-171450">
              <a:buFont typeface="Arial" panose="020B0604020202020204" pitchFamily="34" charset="0"/>
              <a:buChar char="•"/>
            </a:pPr>
            <a:r>
              <a:rPr lang="nb-NO" sz="1100" b="1" dirty="0">
                <a:latin typeface="Microsoft YaHei UI Light" panose="020B0502040204020203" pitchFamily="34" charset="-122"/>
                <a:ea typeface="Microsoft YaHei UI Light" panose="020B0502040204020203" pitchFamily="34" charset="-122"/>
              </a:rPr>
              <a:t>RESH</a:t>
            </a:r>
            <a:r>
              <a:rPr lang="nb-NO" sz="1100" dirty="0">
                <a:latin typeface="Microsoft YaHei UI Light" panose="020B0502040204020203" pitchFamily="34" charset="-122"/>
                <a:ea typeface="Microsoft YaHei UI Light" panose="020B0502040204020203" pitchFamily="34" charset="-122"/>
              </a:rPr>
              <a:t> (Register for enheter i spesialisthelsetjenesten</a:t>
            </a:r>
          </a:p>
          <a:p>
            <a:pPr marL="171450" indent="-171450">
              <a:buFont typeface="Arial" panose="020B0604020202020204" pitchFamily="34" charset="0"/>
              <a:buChar char="•"/>
            </a:pPr>
            <a:r>
              <a:rPr lang="nb-NO" sz="1100" b="1" dirty="0">
                <a:latin typeface="Microsoft YaHei UI Light" panose="020B0502040204020203" pitchFamily="34" charset="-122"/>
                <a:ea typeface="Microsoft YaHei UI Light" panose="020B0502040204020203" pitchFamily="34" charset="-122"/>
              </a:rPr>
              <a:t>SNOMED CT </a:t>
            </a:r>
            <a:r>
              <a:rPr lang="nb-NO" sz="1100" dirty="0">
                <a:latin typeface="Microsoft YaHei UI Light" panose="020B0502040204020203" pitchFamily="34" charset="-122"/>
                <a:ea typeface="Microsoft YaHei UI Light" panose="020B0502040204020203" pitchFamily="34" charset="-122"/>
              </a:rPr>
              <a:t>(samling av medisinske termer, synonymer og definisjoner)</a:t>
            </a:r>
          </a:p>
          <a:p>
            <a:pPr marL="171450" indent="-171450">
              <a:buFont typeface="Arial" panose="020B0604020202020204" pitchFamily="34" charset="0"/>
              <a:buChar char="•"/>
            </a:pPr>
            <a:r>
              <a:rPr lang="nb-NO" sz="1100" b="1" dirty="0">
                <a:latin typeface="Microsoft YaHei UI Light" panose="020B0502040204020203" pitchFamily="34" charset="-122"/>
                <a:ea typeface="Microsoft YaHei UI Light" panose="020B0502040204020203" pitchFamily="34" charset="-122"/>
              </a:rPr>
              <a:t>HTK</a:t>
            </a:r>
            <a:r>
              <a:rPr lang="nb-NO" sz="1100" dirty="0">
                <a:latin typeface="Microsoft YaHei UI Light" panose="020B0502040204020203" pitchFamily="34" charset="-122"/>
                <a:ea typeface="Microsoft YaHei UI Light" panose="020B0502040204020203" pitchFamily="34" charset="-122"/>
              </a:rPr>
              <a:t> (Helsetjenestekatalogen)</a:t>
            </a:r>
          </a:p>
          <a:p>
            <a:pPr marL="171450" indent="-171450">
              <a:buFont typeface="Arial" panose="020B0604020202020204" pitchFamily="34" charset="0"/>
              <a:buChar char="•"/>
            </a:pPr>
            <a:r>
              <a:rPr lang="nb-NO" sz="1100" b="1" dirty="0">
                <a:latin typeface="Microsoft YaHei UI Light" panose="020B0502040204020203" pitchFamily="34" charset="-122"/>
                <a:ea typeface="Microsoft YaHei UI Light" panose="020B0502040204020203" pitchFamily="34" charset="-122"/>
              </a:rPr>
              <a:t>HRCS</a:t>
            </a:r>
            <a:r>
              <a:rPr lang="nb-NO" sz="1100" dirty="0">
                <a:latin typeface="Microsoft YaHei UI Light" panose="020B0502040204020203" pitchFamily="34" charset="-122"/>
                <a:ea typeface="Microsoft YaHei UI Light" panose="020B0502040204020203" pitchFamily="34" charset="-122"/>
              </a:rPr>
              <a:t> (Health Research </a:t>
            </a:r>
            <a:r>
              <a:rPr lang="nb-NO" sz="1100" dirty="0" err="1">
                <a:latin typeface="Microsoft YaHei UI Light" panose="020B0502040204020203" pitchFamily="34" charset="-122"/>
                <a:ea typeface="Microsoft YaHei UI Light" panose="020B0502040204020203" pitchFamily="34" charset="-122"/>
              </a:rPr>
              <a:t>Classification</a:t>
            </a:r>
            <a:r>
              <a:rPr lang="nb-NO" sz="1100" dirty="0">
                <a:latin typeface="Microsoft YaHei UI Light" panose="020B0502040204020203" pitchFamily="34" charset="-122"/>
                <a:ea typeface="Microsoft YaHei UI Light" panose="020B0502040204020203" pitchFamily="34" charset="-122"/>
              </a:rPr>
              <a:t> System)</a:t>
            </a:r>
          </a:p>
          <a:p>
            <a:pPr marL="171450" indent="-171450">
              <a:buFont typeface="Arial" panose="020B0604020202020204" pitchFamily="34" charset="0"/>
              <a:buChar char="•"/>
            </a:pPr>
            <a:r>
              <a:rPr lang="nb-NO" sz="1100" b="1" dirty="0">
                <a:latin typeface="Microsoft YaHei UI Light" panose="020B0502040204020203" pitchFamily="34" charset="-122"/>
                <a:ea typeface="Microsoft YaHei UI Light" panose="020B0502040204020203" pitchFamily="34" charset="-122"/>
              </a:rPr>
              <a:t>CRISTIN</a:t>
            </a:r>
            <a:r>
              <a:rPr lang="nb-NO" sz="1100" dirty="0">
                <a:latin typeface="Microsoft YaHei UI Light" panose="020B0502040204020203" pitchFamily="34" charset="-122"/>
                <a:ea typeface="Microsoft YaHei UI Light" panose="020B0502040204020203" pitchFamily="34" charset="-122"/>
              </a:rPr>
              <a:t> (</a:t>
            </a:r>
            <a:r>
              <a:rPr lang="nb-NO" sz="1100" dirty="0" err="1">
                <a:latin typeface="Microsoft YaHei UI Light" panose="020B0502040204020203" pitchFamily="34" charset="-122"/>
                <a:ea typeface="Microsoft YaHei UI Light" panose="020B0502040204020203" pitchFamily="34" charset="-122"/>
              </a:rPr>
              <a:t>Current</a:t>
            </a:r>
            <a:r>
              <a:rPr lang="nb-NO" sz="1100" dirty="0">
                <a:latin typeface="Microsoft YaHei UI Light" panose="020B0502040204020203" pitchFamily="34" charset="-122"/>
                <a:ea typeface="Microsoft YaHei UI Light" panose="020B0502040204020203" pitchFamily="34" charset="-122"/>
              </a:rPr>
              <a:t> Research Information System in Norway)</a:t>
            </a:r>
          </a:p>
          <a:p>
            <a:pPr marL="171450" indent="-171450">
              <a:buFont typeface="Arial" panose="020B0604020202020204" pitchFamily="34" charset="0"/>
              <a:buChar char="•"/>
            </a:pPr>
            <a:r>
              <a:rPr lang="nb-NO" sz="1100" b="1" dirty="0">
                <a:latin typeface="Microsoft YaHei UI Light" panose="020B0502040204020203" pitchFamily="34" charset="-122"/>
                <a:ea typeface="Microsoft YaHei UI Light" panose="020B0502040204020203" pitchFamily="34" charset="-122"/>
              </a:rPr>
              <a:t>FHIR</a:t>
            </a:r>
            <a:r>
              <a:rPr lang="nb-NO" sz="1100" dirty="0">
                <a:latin typeface="Microsoft YaHei UI Light" panose="020B0502040204020203" pitchFamily="34" charset="-122"/>
                <a:ea typeface="Microsoft YaHei UI Light" panose="020B0502040204020203" pitchFamily="34" charset="-122"/>
              </a:rPr>
              <a:t> og </a:t>
            </a:r>
            <a:r>
              <a:rPr lang="nb-NO" sz="1100" b="1" dirty="0" err="1">
                <a:latin typeface="Microsoft YaHei UI Light" panose="020B0502040204020203" pitchFamily="34" charset="-122"/>
                <a:ea typeface="Microsoft YaHei UI Light" panose="020B0502040204020203" pitchFamily="34" charset="-122"/>
              </a:rPr>
              <a:t>Schema</a:t>
            </a:r>
            <a:r>
              <a:rPr lang="nb-NO" sz="1100" dirty="0">
                <a:latin typeface="Microsoft YaHei UI Light" panose="020B0502040204020203" pitchFamily="34" charset="-122"/>
                <a:ea typeface="Microsoft YaHei UI Light" panose="020B0502040204020203" pitchFamily="34" charset="-122"/>
              </a:rPr>
              <a:t> (begge delvis)</a:t>
            </a:r>
          </a:p>
          <a:p>
            <a:pPr marL="171450" indent="-171450">
              <a:buFont typeface="Arial" panose="020B0604020202020204" pitchFamily="34" charset="0"/>
              <a:buChar char="•"/>
            </a:pPr>
            <a:endParaRPr lang="nb-NO" sz="1100" dirty="0">
              <a:latin typeface="Microsoft YaHei UI Light" panose="020B0502040204020203" pitchFamily="34" charset="-122"/>
              <a:ea typeface="Microsoft YaHei UI Light" panose="020B0502040204020203" pitchFamily="34" charset="-122"/>
            </a:endParaRPr>
          </a:p>
          <a:p>
            <a:r>
              <a:rPr lang="nb-NO" dirty="0">
                <a:latin typeface="Microsoft YaHei UI Light" panose="020B0502040204020203" pitchFamily="34" charset="-122"/>
                <a:ea typeface="Microsoft YaHei UI Light" panose="020B0502040204020203" pitchFamily="34" charset="-122"/>
              </a:rPr>
              <a:t>Lagret hos Norsk Helsenett</a:t>
            </a:r>
          </a:p>
          <a:p>
            <a:endParaRPr lang="nb-NO" dirty="0">
              <a:latin typeface="Microsoft YaHei UI Light" panose="020B0502040204020203" pitchFamily="34" charset="-122"/>
              <a:ea typeface="Microsoft YaHei UI Light" panose="020B0502040204020203" pitchFamily="34" charset="-122"/>
            </a:endParaRPr>
          </a:p>
          <a:p>
            <a:r>
              <a:rPr lang="nb-NO" dirty="0">
                <a:latin typeface="Microsoft YaHei UI Light" panose="020B0502040204020203" pitchFamily="34" charset="-122"/>
                <a:ea typeface="Microsoft YaHei UI Light" panose="020B0502040204020203" pitchFamily="34" charset="-122"/>
              </a:rPr>
              <a:t>Lisensiert med Norsk lisens for offentlige data (NLOD)</a:t>
            </a:r>
          </a:p>
        </p:txBody>
      </p:sp>
      <p:sp>
        <p:nvSpPr>
          <p:cNvPr id="18" name="Rektangel: avrundede hjørner 17">
            <a:extLst>
              <a:ext uri="{FF2B5EF4-FFF2-40B4-BE49-F238E27FC236}">
                <a16:creationId xmlns:a16="http://schemas.microsoft.com/office/drawing/2014/main" id="{E0C78CD8-1BE0-588C-1731-3D6B6F1C1C35}"/>
              </a:ext>
            </a:extLst>
          </p:cNvPr>
          <p:cNvSpPr/>
          <p:nvPr/>
        </p:nvSpPr>
        <p:spPr>
          <a:xfrm>
            <a:off x="6215715" y="365125"/>
            <a:ext cx="1754590" cy="5785945"/>
          </a:xfrm>
          <a:prstGeom prst="roundRect">
            <a:avLst/>
          </a:prstGeom>
          <a:noFill/>
          <a:ln>
            <a:solidFill>
              <a:srgbClr val="25377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ktangel: avrundede hjørner 19">
            <a:extLst>
              <a:ext uri="{FF2B5EF4-FFF2-40B4-BE49-F238E27FC236}">
                <a16:creationId xmlns:a16="http://schemas.microsoft.com/office/drawing/2014/main" id="{7DC1E8EC-D61E-24E8-F548-A09B5333282F}"/>
              </a:ext>
            </a:extLst>
          </p:cNvPr>
          <p:cNvSpPr/>
          <p:nvPr/>
        </p:nvSpPr>
        <p:spPr>
          <a:xfrm>
            <a:off x="9296197" y="365125"/>
            <a:ext cx="1754590" cy="5785945"/>
          </a:xfrm>
          <a:prstGeom prst="roundRect">
            <a:avLst/>
          </a:prstGeom>
          <a:noFill/>
          <a:ln>
            <a:solidFill>
              <a:srgbClr val="25377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TextBox 24">
            <a:extLst>
              <a:ext uri="{FF2B5EF4-FFF2-40B4-BE49-F238E27FC236}">
                <a16:creationId xmlns:a16="http://schemas.microsoft.com/office/drawing/2014/main" id="{FCF8416F-5260-B070-FE1F-B66100384E53}"/>
              </a:ext>
            </a:extLst>
          </p:cNvPr>
          <p:cNvSpPr txBox="1"/>
          <p:nvPr/>
        </p:nvSpPr>
        <p:spPr>
          <a:xfrm>
            <a:off x="6411834" y="5457414"/>
            <a:ext cx="1461942" cy="584775"/>
          </a:xfrm>
          <a:prstGeom prst="rect">
            <a:avLst/>
          </a:prstGeom>
          <a:noFill/>
        </p:spPr>
        <p:txBody>
          <a:bodyPr wrap="square" rtlCol="0">
            <a:spAutoFit/>
          </a:bodyPr>
          <a:lstStyle/>
          <a:p>
            <a:pPr algn="ctr"/>
            <a:r>
              <a:rPr lang="nb-NO" sz="1600" dirty="0">
                <a:latin typeface="Microsoft YaHei UI Light" panose="020B0502040204020203" pitchFamily="34" charset="-122"/>
                <a:ea typeface="Microsoft YaHei UI Light" panose="020B0502040204020203" pitchFamily="34" charset="-122"/>
              </a:rPr>
              <a:t>Berikelse med</a:t>
            </a:r>
          </a:p>
          <a:p>
            <a:pPr algn="ctr"/>
            <a:r>
              <a:rPr lang="nb-NO" sz="1600" dirty="0">
                <a:latin typeface="Microsoft YaHei UI Light" panose="020B0502040204020203" pitchFamily="34" charset="-122"/>
                <a:ea typeface="Microsoft YaHei UI Light" panose="020B0502040204020203" pitchFamily="34" charset="-122"/>
              </a:rPr>
              <a:t>andre data</a:t>
            </a:r>
          </a:p>
        </p:txBody>
      </p:sp>
      <p:sp>
        <p:nvSpPr>
          <p:cNvPr id="24" name="TextBox 24">
            <a:extLst>
              <a:ext uri="{FF2B5EF4-FFF2-40B4-BE49-F238E27FC236}">
                <a16:creationId xmlns:a16="http://schemas.microsoft.com/office/drawing/2014/main" id="{785CB010-3B99-665D-1F9B-B8D486F25A34}"/>
              </a:ext>
            </a:extLst>
          </p:cNvPr>
          <p:cNvSpPr txBox="1"/>
          <p:nvPr/>
        </p:nvSpPr>
        <p:spPr>
          <a:xfrm>
            <a:off x="9445728" y="5620955"/>
            <a:ext cx="1461942" cy="338554"/>
          </a:xfrm>
          <a:prstGeom prst="rect">
            <a:avLst/>
          </a:prstGeom>
          <a:noFill/>
        </p:spPr>
        <p:txBody>
          <a:bodyPr wrap="square" rtlCol="0">
            <a:spAutoFit/>
          </a:bodyPr>
          <a:lstStyle/>
          <a:p>
            <a:pPr algn="ctr"/>
            <a:r>
              <a:rPr lang="nb-NO" sz="1600" dirty="0">
                <a:latin typeface="Microsoft YaHei UI Light" panose="020B0502040204020203" pitchFamily="34" charset="-122"/>
                <a:ea typeface="Microsoft YaHei UI Light" panose="020B0502040204020203" pitchFamily="34" charset="-122"/>
              </a:rPr>
              <a:t>Nye tjenester</a:t>
            </a:r>
          </a:p>
        </p:txBody>
      </p:sp>
    </p:spTree>
    <p:extLst>
      <p:ext uri="{BB962C8B-B14F-4D97-AF65-F5344CB8AC3E}">
        <p14:creationId xmlns:p14="http://schemas.microsoft.com/office/powerpoint/2010/main" val="25256283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0D7515E3-CA31-41A2-91B8-E5F9818B68F5}"/>
              </a:ext>
            </a:extLst>
          </p:cNvPr>
          <p:cNvGraphicFramePr/>
          <p:nvPr/>
        </p:nvGraphicFramePr>
        <p:xfrm>
          <a:off x="0" y="168166"/>
          <a:ext cx="12191999" cy="64533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4174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l"/>
            <a:endParaRPr lang="nb-NO" dirty="0">
              <a:solidFill>
                <a:schemeClr val="tx2"/>
              </a:solidFill>
            </a:endParaRPr>
          </a:p>
        </p:txBody>
      </p:sp>
      <p:sp>
        <p:nvSpPr>
          <p:cNvPr id="3" name="Plassholder for innhold 2"/>
          <p:cNvSpPr>
            <a:spLocks noGrp="1"/>
          </p:cNvSpPr>
          <p:nvPr>
            <p:ph idx="1"/>
          </p:nvPr>
        </p:nvSpPr>
        <p:spPr/>
        <p:txBody>
          <a:bodyPr>
            <a:normAutofit/>
          </a:bodyPr>
          <a:lstStyle/>
          <a:p>
            <a:pPr>
              <a:buClr>
                <a:schemeClr val="tx2"/>
              </a:buClr>
            </a:pPr>
            <a:endParaRPr lang="nb-NO" dirty="0"/>
          </a:p>
        </p:txBody>
      </p:sp>
      <p:sp>
        <p:nvSpPr>
          <p:cNvPr id="6" name="Rektangel 5"/>
          <p:cNvSpPr/>
          <p:nvPr/>
        </p:nvSpPr>
        <p:spPr>
          <a:xfrm>
            <a:off x="-336715" y="-27384"/>
            <a:ext cx="12769419" cy="7104789"/>
          </a:xfrm>
          <a:prstGeom prst="rect">
            <a:avLst/>
          </a:prstGeom>
          <a:solidFill>
            <a:srgbClr val="3358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Ellipse 18"/>
          <p:cNvSpPr/>
          <p:nvPr/>
        </p:nvSpPr>
        <p:spPr>
          <a:xfrm>
            <a:off x="1775520" y="3140968"/>
            <a:ext cx="3384376" cy="345638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800" b="1" dirty="0"/>
              <a:t>Elisabeth Stakkeland</a:t>
            </a:r>
          </a:p>
          <a:p>
            <a:pPr algn="ctr"/>
            <a:r>
              <a:rPr lang="nb-NO" sz="1600" dirty="0"/>
              <a:t>Medisinsk og helsefaglig redaktør</a:t>
            </a:r>
          </a:p>
          <a:p>
            <a:pPr algn="ctr"/>
            <a:endParaRPr lang="nb-NO" sz="1600" b="1" dirty="0"/>
          </a:p>
          <a:p>
            <a:pPr algn="ctr"/>
            <a:r>
              <a:rPr lang="nb-NO" sz="1600" b="1" dirty="0"/>
              <a:t>Fredrik Gustav Lorentzen</a:t>
            </a:r>
          </a:p>
          <a:p>
            <a:pPr algn="ctr"/>
            <a:r>
              <a:rPr lang="nb-NO" dirty="0"/>
              <a:t>Leder produkt- og teknologiutvikling</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75921" y="4494511"/>
            <a:ext cx="4776787" cy="749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98122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F920E3-5FA5-44BA-B419-E4820EF8181A}"/>
              </a:ext>
            </a:extLst>
          </p:cNvPr>
          <p:cNvSpPr/>
          <p:nvPr/>
        </p:nvSpPr>
        <p:spPr>
          <a:xfrm>
            <a:off x="2138239" y="447"/>
            <a:ext cx="7277967" cy="6857107"/>
          </a:xfrm>
          <a:prstGeom prst="rect">
            <a:avLst/>
          </a:prstGeom>
          <a:solidFill>
            <a:srgbClr val="DAE6F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42" name="Rectangle 36">
            <a:extLst>
              <a:ext uri="{FF2B5EF4-FFF2-40B4-BE49-F238E27FC236}">
                <a16:creationId xmlns:a16="http://schemas.microsoft.com/office/drawing/2014/main" id="{7378B13B-5F5C-4319-B7B9-0B02D4B6577A}"/>
              </a:ext>
            </a:extLst>
          </p:cNvPr>
          <p:cNvSpPr>
            <a:spLocks noChangeArrowheads="1"/>
          </p:cNvSpPr>
          <p:nvPr/>
        </p:nvSpPr>
        <p:spPr bwMode="auto">
          <a:xfrm>
            <a:off x="2357284" y="3280589"/>
            <a:ext cx="6523776" cy="2996809"/>
          </a:xfrm>
          <a:prstGeom prst="rect">
            <a:avLst/>
          </a:prstGeom>
          <a:solidFill>
            <a:srgbClr val="5C87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grpSp>
        <p:nvGrpSpPr>
          <p:cNvPr id="27" name="Group 26">
            <a:extLst>
              <a:ext uri="{FF2B5EF4-FFF2-40B4-BE49-F238E27FC236}">
                <a16:creationId xmlns:a16="http://schemas.microsoft.com/office/drawing/2014/main" id="{55BA754A-11C2-4D5F-902F-BD0B26136D0E}"/>
              </a:ext>
            </a:extLst>
          </p:cNvPr>
          <p:cNvGrpSpPr/>
          <p:nvPr/>
        </p:nvGrpSpPr>
        <p:grpSpPr>
          <a:xfrm>
            <a:off x="4232116" y="1626312"/>
            <a:ext cx="3149984" cy="1642849"/>
            <a:chOff x="4429125" y="3575050"/>
            <a:chExt cx="6300788" cy="3286126"/>
          </a:xfrm>
        </p:grpSpPr>
        <p:sp>
          <p:nvSpPr>
            <p:cNvPr id="8" name="Freeform 5">
              <a:extLst>
                <a:ext uri="{FF2B5EF4-FFF2-40B4-BE49-F238E27FC236}">
                  <a16:creationId xmlns:a16="http://schemas.microsoft.com/office/drawing/2014/main" id="{3D3A6431-9E65-4E15-B356-EBC9BC3534CE}"/>
                </a:ext>
              </a:extLst>
            </p:cNvPr>
            <p:cNvSpPr>
              <a:spLocks/>
            </p:cNvSpPr>
            <p:nvPr/>
          </p:nvSpPr>
          <p:spPr bwMode="auto">
            <a:xfrm>
              <a:off x="5768975" y="4464050"/>
              <a:ext cx="1138238" cy="1346200"/>
            </a:xfrm>
            <a:custGeom>
              <a:avLst/>
              <a:gdLst>
                <a:gd name="T0" fmla="*/ 0 w 717"/>
                <a:gd name="T1" fmla="*/ 623 h 848"/>
                <a:gd name="T2" fmla="*/ 401 w 717"/>
                <a:gd name="T3" fmla="*/ 0 h 848"/>
                <a:gd name="T4" fmla="*/ 717 w 717"/>
                <a:gd name="T5" fmla="*/ 520 h 848"/>
                <a:gd name="T6" fmla="*/ 499 w 717"/>
                <a:gd name="T7" fmla="*/ 848 h 848"/>
                <a:gd name="T8" fmla="*/ 0 w 717"/>
                <a:gd name="T9" fmla="*/ 623 h 848"/>
              </a:gdLst>
              <a:ahLst/>
              <a:cxnLst>
                <a:cxn ang="0">
                  <a:pos x="T0" y="T1"/>
                </a:cxn>
                <a:cxn ang="0">
                  <a:pos x="T2" y="T3"/>
                </a:cxn>
                <a:cxn ang="0">
                  <a:pos x="T4" y="T5"/>
                </a:cxn>
                <a:cxn ang="0">
                  <a:pos x="T6" y="T7"/>
                </a:cxn>
                <a:cxn ang="0">
                  <a:pos x="T8" y="T9"/>
                </a:cxn>
              </a:cxnLst>
              <a:rect l="0" t="0" r="r" b="b"/>
              <a:pathLst>
                <a:path w="717" h="848">
                  <a:moveTo>
                    <a:pt x="0" y="623"/>
                  </a:moveTo>
                  <a:lnTo>
                    <a:pt x="401" y="0"/>
                  </a:lnTo>
                  <a:lnTo>
                    <a:pt x="717" y="520"/>
                  </a:lnTo>
                  <a:lnTo>
                    <a:pt x="499" y="848"/>
                  </a:lnTo>
                  <a:lnTo>
                    <a:pt x="0" y="623"/>
                  </a:lnTo>
                  <a:close/>
                </a:path>
              </a:pathLst>
            </a:custGeom>
            <a:solidFill>
              <a:srgbClr val="89B5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9" name="Freeform 6">
              <a:extLst>
                <a:ext uri="{FF2B5EF4-FFF2-40B4-BE49-F238E27FC236}">
                  <a16:creationId xmlns:a16="http://schemas.microsoft.com/office/drawing/2014/main" id="{8FF713E9-82CF-4554-9E23-04A55DCA0D90}"/>
                </a:ext>
              </a:extLst>
            </p:cNvPr>
            <p:cNvSpPr>
              <a:spLocks/>
            </p:cNvSpPr>
            <p:nvPr/>
          </p:nvSpPr>
          <p:spPr bwMode="auto">
            <a:xfrm>
              <a:off x="5564188" y="5362575"/>
              <a:ext cx="996950" cy="804863"/>
            </a:xfrm>
            <a:custGeom>
              <a:avLst/>
              <a:gdLst>
                <a:gd name="T0" fmla="*/ 0 w 628"/>
                <a:gd name="T1" fmla="*/ 0 h 507"/>
                <a:gd name="T2" fmla="*/ 628 w 628"/>
                <a:gd name="T3" fmla="*/ 282 h 507"/>
                <a:gd name="T4" fmla="*/ 478 w 628"/>
                <a:gd name="T5" fmla="*/ 507 h 507"/>
                <a:gd name="T6" fmla="*/ 0 w 628"/>
                <a:gd name="T7" fmla="*/ 0 h 507"/>
              </a:gdLst>
              <a:ahLst/>
              <a:cxnLst>
                <a:cxn ang="0">
                  <a:pos x="T0" y="T1"/>
                </a:cxn>
                <a:cxn ang="0">
                  <a:pos x="T2" y="T3"/>
                </a:cxn>
                <a:cxn ang="0">
                  <a:pos x="T4" y="T5"/>
                </a:cxn>
                <a:cxn ang="0">
                  <a:pos x="T6" y="T7"/>
                </a:cxn>
              </a:cxnLst>
              <a:rect l="0" t="0" r="r" b="b"/>
              <a:pathLst>
                <a:path w="628" h="507">
                  <a:moveTo>
                    <a:pt x="0" y="0"/>
                  </a:moveTo>
                  <a:lnTo>
                    <a:pt x="628" y="282"/>
                  </a:lnTo>
                  <a:lnTo>
                    <a:pt x="478" y="507"/>
                  </a:lnTo>
                  <a:lnTo>
                    <a:pt x="0" y="0"/>
                  </a:lnTo>
                  <a:close/>
                </a:path>
              </a:pathLst>
            </a:custGeom>
            <a:solidFill>
              <a:srgbClr val="6C9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0" name="Freeform 7">
              <a:extLst>
                <a:ext uri="{FF2B5EF4-FFF2-40B4-BE49-F238E27FC236}">
                  <a16:creationId xmlns:a16="http://schemas.microsoft.com/office/drawing/2014/main" id="{7002938D-0738-4164-B6AB-F2225D021F69}"/>
                </a:ext>
              </a:extLst>
            </p:cNvPr>
            <p:cNvSpPr>
              <a:spLocks/>
            </p:cNvSpPr>
            <p:nvPr/>
          </p:nvSpPr>
          <p:spPr bwMode="auto">
            <a:xfrm>
              <a:off x="5080000" y="5362575"/>
              <a:ext cx="906463" cy="1085850"/>
            </a:xfrm>
            <a:custGeom>
              <a:avLst/>
              <a:gdLst>
                <a:gd name="T0" fmla="*/ 0 w 571"/>
                <a:gd name="T1" fmla="*/ 323 h 684"/>
                <a:gd name="T2" fmla="*/ 305 w 571"/>
                <a:gd name="T3" fmla="*/ 0 h 684"/>
                <a:gd name="T4" fmla="*/ 571 w 571"/>
                <a:gd name="T5" fmla="*/ 206 h 684"/>
                <a:gd name="T6" fmla="*/ 253 w 571"/>
                <a:gd name="T7" fmla="*/ 684 h 684"/>
                <a:gd name="T8" fmla="*/ 0 w 571"/>
                <a:gd name="T9" fmla="*/ 323 h 684"/>
              </a:gdLst>
              <a:ahLst/>
              <a:cxnLst>
                <a:cxn ang="0">
                  <a:pos x="T0" y="T1"/>
                </a:cxn>
                <a:cxn ang="0">
                  <a:pos x="T2" y="T3"/>
                </a:cxn>
                <a:cxn ang="0">
                  <a:pos x="T4" y="T5"/>
                </a:cxn>
                <a:cxn ang="0">
                  <a:pos x="T6" y="T7"/>
                </a:cxn>
                <a:cxn ang="0">
                  <a:pos x="T8" y="T9"/>
                </a:cxn>
              </a:cxnLst>
              <a:rect l="0" t="0" r="r" b="b"/>
              <a:pathLst>
                <a:path w="571" h="684">
                  <a:moveTo>
                    <a:pt x="0" y="323"/>
                  </a:moveTo>
                  <a:lnTo>
                    <a:pt x="305" y="0"/>
                  </a:lnTo>
                  <a:lnTo>
                    <a:pt x="571" y="206"/>
                  </a:lnTo>
                  <a:lnTo>
                    <a:pt x="253" y="684"/>
                  </a:lnTo>
                  <a:lnTo>
                    <a:pt x="0" y="323"/>
                  </a:lnTo>
                  <a:close/>
                </a:path>
              </a:pathLst>
            </a:custGeom>
            <a:solidFill>
              <a:srgbClr val="6C9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1" name="Freeform 8">
              <a:extLst>
                <a:ext uri="{FF2B5EF4-FFF2-40B4-BE49-F238E27FC236}">
                  <a16:creationId xmlns:a16="http://schemas.microsoft.com/office/drawing/2014/main" id="{15F7191C-6A64-4E34-BD7F-30DE7E9990BD}"/>
                </a:ext>
              </a:extLst>
            </p:cNvPr>
            <p:cNvSpPr>
              <a:spLocks/>
            </p:cNvSpPr>
            <p:nvPr/>
          </p:nvSpPr>
          <p:spPr bwMode="auto">
            <a:xfrm>
              <a:off x="5861050" y="3575050"/>
              <a:ext cx="4543425" cy="3282950"/>
            </a:xfrm>
            <a:custGeom>
              <a:avLst/>
              <a:gdLst>
                <a:gd name="T0" fmla="*/ 0 w 2862"/>
                <a:gd name="T1" fmla="*/ 2068 h 2068"/>
                <a:gd name="T2" fmla="*/ 1380 w 2862"/>
                <a:gd name="T3" fmla="*/ 0 h 2068"/>
                <a:gd name="T4" fmla="*/ 2862 w 2862"/>
                <a:gd name="T5" fmla="*/ 2068 h 2068"/>
                <a:gd name="T6" fmla="*/ 0 w 2862"/>
                <a:gd name="T7" fmla="*/ 2068 h 2068"/>
              </a:gdLst>
              <a:ahLst/>
              <a:cxnLst>
                <a:cxn ang="0">
                  <a:pos x="T0" y="T1"/>
                </a:cxn>
                <a:cxn ang="0">
                  <a:pos x="T2" y="T3"/>
                </a:cxn>
                <a:cxn ang="0">
                  <a:pos x="T4" y="T5"/>
                </a:cxn>
                <a:cxn ang="0">
                  <a:pos x="T6" y="T7"/>
                </a:cxn>
              </a:cxnLst>
              <a:rect l="0" t="0" r="r" b="b"/>
              <a:pathLst>
                <a:path w="2862" h="2068">
                  <a:moveTo>
                    <a:pt x="0" y="2068"/>
                  </a:moveTo>
                  <a:lnTo>
                    <a:pt x="1380" y="0"/>
                  </a:lnTo>
                  <a:lnTo>
                    <a:pt x="2862" y="2068"/>
                  </a:lnTo>
                  <a:lnTo>
                    <a:pt x="0" y="2068"/>
                  </a:lnTo>
                  <a:close/>
                </a:path>
              </a:pathLst>
            </a:custGeom>
            <a:solidFill>
              <a:srgbClr val="EBF4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2" name="Freeform 9">
              <a:extLst>
                <a:ext uri="{FF2B5EF4-FFF2-40B4-BE49-F238E27FC236}">
                  <a16:creationId xmlns:a16="http://schemas.microsoft.com/office/drawing/2014/main" id="{307423C9-F95C-44DF-BC6F-3AC4997659E7}"/>
                </a:ext>
              </a:extLst>
            </p:cNvPr>
            <p:cNvSpPr>
              <a:spLocks/>
            </p:cNvSpPr>
            <p:nvPr/>
          </p:nvSpPr>
          <p:spPr bwMode="auto">
            <a:xfrm>
              <a:off x="7358063" y="4438650"/>
              <a:ext cx="2116138" cy="2422525"/>
            </a:xfrm>
            <a:custGeom>
              <a:avLst/>
              <a:gdLst>
                <a:gd name="T0" fmla="*/ 1333 w 1333"/>
                <a:gd name="T1" fmla="*/ 1526 h 1526"/>
                <a:gd name="T2" fmla="*/ 321 w 1333"/>
                <a:gd name="T3" fmla="*/ 0 h 1526"/>
                <a:gd name="T4" fmla="*/ 0 w 1333"/>
                <a:gd name="T5" fmla="*/ 1524 h 1526"/>
                <a:gd name="T6" fmla="*/ 1333 w 1333"/>
                <a:gd name="T7" fmla="*/ 1526 h 1526"/>
              </a:gdLst>
              <a:ahLst/>
              <a:cxnLst>
                <a:cxn ang="0">
                  <a:pos x="T0" y="T1"/>
                </a:cxn>
                <a:cxn ang="0">
                  <a:pos x="T2" y="T3"/>
                </a:cxn>
                <a:cxn ang="0">
                  <a:pos x="T4" y="T5"/>
                </a:cxn>
                <a:cxn ang="0">
                  <a:pos x="T6" y="T7"/>
                </a:cxn>
              </a:cxnLst>
              <a:rect l="0" t="0" r="r" b="b"/>
              <a:pathLst>
                <a:path w="1333" h="1526">
                  <a:moveTo>
                    <a:pt x="1333" y="1526"/>
                  </a:moveTo>
                  <a:lnTo>
                    <a:pt x="321" y="0"/>
                  </a:lnTo>
                  <a:lnTo>
                    <a:pt x="0" y="1524"/>
                  </a:lnTo>
                  <a:lnTo>
                    <a:pt x="1333" y="1526"/>
                  </a:lnTo>
                  <a:close/>
                </a:path>
              </a:pathLst>
            </a:custGeom>
            <a:solidFill>
              <a:srgbClr val="E3F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3" name="Freeform 10">
              <a:extLst>
                <a:ext uri="{FF2B5EF4-FFF2-40B4-BE49-F238E27FC236}">
                  <a16:creationId xmlns:a16="http://schemas.microsoft.com/office/drawing/2014/main" id="{D3195AD8-12AE-478D-AE08-521063D778B9}"/>
                </a:ext>
              </a:extLst>
            </p:cNvPr>
            <p:cNvSpPr>
              <a:spLocks/>
            </p:cNvSpPr>
            <p:nvPr/>
          </p:nvSpPr>
          <p:spPr bwMode="auto">
            <a:xfrm>
              <a:off x="5861050" y="3575050"/>
              <a:ext cx="2190750" cy="3282950"/>
            </a:xfrm>
            <a:custGeom>
              <a:avLst/>
              <a:gdLst>
                <a:gd name="T0" fmla="*/ 1380 w 1380"/>
                <a:gd name="T1" fmla="*/ 0 h 2068"/>
                <a:gd name="T2" fmla="*/ 943 w 1380"/>
                <a:gd name="T3" fmla="*/ 2068 h 2068"/>
                <a:gd name="T4" fmla="*/ 0 w 1380"/>
                <a:gd name="T5" fmla="*/ 2068 h 2068"/>
                <a:gd name="T6" fmla="*/ 1380 w 1380"/>
                <a:gd name="T7" fmla="*/ 0 h 2068"/>
              </a:gdLst>
              <a:ahLst/>
              <a:cxnLst>
                <a:cxn ang="0">
                  <a:pos x="T0" y="T1"/>
                </a:cxn>
                <a:cxn ang="0">
                  <a:pos x="T2" y="T3"/>
                </a:cxn>
                <a:cxn ang="0">
                  <a:pos x="T4" y="T5"/>
                </a:cxn>
                <a:cxn ang="0">
                  <a:pos x="T6" y="T7"/>
                </a:cxn>
              </a:cxnLst>
              <a:rect l="0" t="0" r="r" b="b"/>
              <a:pathLst>
                <a:path w="1380" h="2068">
                  <a:moveTo>
                    <a:pt x="1380" y="0"/>
                  </a:moveTo>
                  <a:lnTo>
                    <a:pt x="943" y="2068"/>
                  </a:lnTo>
                  <a:lnTo>
                    <a:pt x="0" y="2068"/>
                  </a:lnTo>
                  <a:lnTo>
                    <a:pt x="1380" y="0"/>
                  </a:lnTo>
                  <a:close/>
                </a:path>
              </a:pathLst>
            </a:custGeom>
            <a:solidFill>
              <a:srgbClr val="B2D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4" name="Line 11">
              <a:extLst>
                <a:ext uri="{FF2B5EF4-FFF2-40B4-BE49-F238E27FC236}">
                  <a16:creationId xmlns:a16="http://schemas.microsoft.com/office/drawing/2014/main" id="{380EA788-FA4B-4798-8F05-A63AF62FE7A2}"/>
                </a:ext>
              </a:extLst>
            </p:cNvPr>
            <p:cNvSpPr>
              <a:spLocks noChangeShapeType="1"/>
            </p:cNvSpPr>
            <p:nvPr/>
          </p:nvSpPr>
          <p:spPr bwMode="auto">
            <a:xfrm>
              <a:off x="7662863" y="54165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5" name="Line 12">
              <a:extLst>
                <a:ext uri="{FF2B5EF4-FFF2-40B4-BE49-F238E27FC236}">
                  <a16:creationId xmlns:a16="http://schemas.microsoft.com/office/drawing/2014/main" id="{C2B577FE-C257-4AD8-B0C0-B9F8578617FB}"/>
                </a:ext>
              </a:extLst>
            </p:cNvPr>
            <p:cNvSpPr>
              <a:spLocks noChangeShapeType="1"/>
            </p:cNvSpPr>
            <p:nvPr/>
          </p:nvSpPr>
          <p:spPr bwMode="auto">
            <a:xfrm>
              <a:off x="7662863" y="541655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6" name="Freeform 13">
              <a:extLst>
                <a:ext uri="{FF2B5EF4-FFF2-40B4-BE49-F238E27FC236}">
                  <a16:creationId xmlns:a16="http://schemas.microsoft.com/office/drawing/2014/main" id="{59E6AA27-3A60-4079-B3C2-517BD9A19F6A}"/>
                </a:ext>
              </a:extLst>
            </p:cNvPr>
            <p:cNvSpPr>
              <a:spLocks/>
            </p:cNvSpPr>
            <p:nvPr/>
          </p:nvSpPr>
          <p:spPr bwMode="auto">
            <a:xfrm>
              <a:off x="6405563" y="5554663"/>
              <a:ext cx="1227138" cy="1306513"/>
            </a:xfrm>
            <a:custGeom>
              <a:avLst/>
              <a:gdLst>
                <a:gd name="T0" fmla="*/ 0 w 773"/>
                <a:gd name="T1" fmla="*/ 823 h 823"/>
                <a:gd name="T2" fmla="*/ 773 w 773"/>
                <a:gd name="T3" fmla="*/ 0 h 823"/>
                <a:gd name="T4" fmla="*/ 600 w 773"/>
                <a:gd name="T5" fmla="*/ 821 h 823"/>
                <a:gd name="T6" fmla="*/ 0 w 773"/>
                <a:gd name="T7" fmla="*/ 823 h 823"/>
              </a:gdLst>
              <a:ahLst/>
              <a:cxnLst>
                <a:cxn ang="0">
                  <a:pos x="T0" y="T1"/>
                </a:cxn>
                <a:cxn ang="0">
                  <a:pos x="T2" y="T3"/>
                </a:cxn>
                <a:cxn ang="0">
                  <a:pos x="T4" y="T5"/>
                </a:cxn>
                <a:cxn ang="0">
                  <a:pos x="T6" y="T7"/>
                </a:cxn>
              </a:cxnLst>
              <a:rect l="0" t="0" r="r" b="b"/>
              <a:pathLst>
                <a:path w="773" h="823">
                  <a:moveTo>
                    <a:pt x="0" y="823"/>
                  </a:moveTo>
                  <a:lnTo>
                    <a:pt x="773" y="0"/>
                  </a:lnTo>
                  <a:lnTo>
                    <a:pt x="600" y="821"/>
                  </a:lnTo>
                  <a:lnTo>
                    <a:pt x="0" y="823"/>
                  </a:lnTo>
                  <a:close/>
                </a:path>
              </a:pathLst>
            </a:custGeom>
            <a:solidFill>
              <a:srgbClr val="6C9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7" name="Freeform 14">
              <a:extLst>
                <a:ext uri="{FF2B5EF4-FFF2-40B4-BE49-F238E27FC236}">
                  <a16:creationId xmlns:a16="http://schemas.microsoft.com/office/drawing/2014/main" id="{889D9567-B9DA-41F1-86FB-427B52C60EB0}"/>
                </a:ext>
              </a:extLst>
            </p:cNvPr>
            <p:cNvSpPr>
              <a:spLocks/>
            </p:cNvSpPr>
            <p:nvPr/>
          </p:nvSpPr>
          <p:spPr bwMode="auto">
            <a:xfrm>
              <a:off x="7358063" y="5554663"/>
              <a:ext cx="1512888" cy="1306513"/>
            </a:xfrm>
            <a:custGeom>
              <a:avLst/>
              <a:gdLst>
                <a:gd name="T0" fmla="*/ 173 w 953"/>
                <a:gd name="T1" fmla="*/ 0 h 823"/>
                <a:gd name="T2" fmla="*/ 953 w 953"/>
                <a:gd name="T3" fmla="*/ 823 h 823"/>
                <a:gd name="T4" fmla="*/ 0 w 953"/>
                <a:gd name="T5" fmla="*/ 821 h 823"/>
                <a:gd name="T6" fmla="*/ 173 w 953"/>
                <a:gd name="T7" fmla="*/ 0 h 823"/>
              </a:gdLst>
              <a:ahLst/>
              <a:cxnLst>
                <a:cxn ang="0">
                  <a:pos x="T0" y="T1"/>
                </a:cxn>
                <a:cxn ang="0">
                  <a:pos x="T2" y="T3"/>
                </a:cxn>
                <a:cxn ang="0">
                  <a:pos x="T4" y="T5"/>
                </a:cxn>
                <a:cxn ang="0">
                  <a:pos x="T6" y="T7"/>
                </a:cxn>
              </a:cxnLst>
              <a:rect l="0" t="0" r="r" b="b"/>
              <a:pathLst>
                <a:path w="953" h="823">
                  <a:moveTo>
                    <a:pt x="173" y="0"/>
                  </a:moveTo>
                  <a:lnTo>
                    <a:pt x="953" y="823"/>
                  </a:lnTo>
                  <a:lnTo>
                    <a:pt x="0" y="821"/>
                  </a:lnTo>
                  <a:lnTo>
                    <a:pt x="173" y="0"/>
                  </a:lnTo>
                  <a:close/>
                </a:path>
              </a:pathLst>
            </a:custGeom>
            <a:solidFill>
              <a:srgbClr val="89B5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8" name="Freeform 15">
              <a:extLst>
                <a:ext uri="{FF2B5EF4-FFF2-40B4-BE49-F238E27FC236}">
                  <a16:creationId xmlns:a16="http://schemas.microsoft.com/office/drawing/2014/main" id="{F5089DF9-4DBF-490D-B70B-155DEA420003}"/>
                </a:ext>
              </a:extLst>
            </p:cNvPr>
            <p:cNvSpPr>
              <a:spLocks/>
            </p:cNvSpPr>
            <p:nvPr/>
          </p:nvSpPr>
          <p:spPr bwMode="auto">
            <a:xfrm>
              <a:off x="8164513" y="4892675"/>
              <a:ext cx="2565400" cy="1968500"/>
            </a:xfrm>
            <a:custGeom>
              <a:avLst/>
              <a:gdLst>
                <a:gd name="T0" fmla="*/ 0 w 1616"/>
                <a:gd name="T1" fmla="*/ 1240 h 1240"/>
                <a:gd name="T2" fmla="*/ 703 w 1616"/>
                <a:gd name="T3" fmla="*/ 0 h 1240"/>
                <a:gd name="T4" fmla="*/ 1616 w 1616"/>
                <a:gd name="T5" fmla="*/ 1238 h 1240"/>
                <a:gd name="T6" fmla="*/ 0 w 1616"/>
                <a:gd name="T7" fmla="*/ 1240 h 1240"/>
              </a:gdLst>
              <a:ahLst/>
              <a:cxnLst>
                <a:cxn ang="0">
                  <a:pos x="T0" y="T1"/>
                </a:cxn>
                <a:cxn ang="0">
                  <a:pos x="T2" y="T3"/>
                </a:cxn>
                <a:cxn ang="0">
                  <a:pos x="T4" y="T5"/>
                </a:cxn>
                <a:cxn ang="0">
                  <a:pos x="T6" y="T7"/>
                </a:cxn>
              </a:cxnLst>
              <a:rect l="0" t="0" r="r" b="b"/>
              <a:pathLst>
                <a:path w="1616" h="1240">
                  <a:moveTo>
                    <a:pt x="0" y="1240"/>
                  </a:moveTo>
                  <a:lnTo>
                    <a:pt x="703" y="0"/>
                  </a:lnTo>
                  <a:lnTo>
                    <a:pt x="1616" y="1238"/>
                  </a:lnTo>
                  <a:lnTo>
                    <a:pt x="0" y="1240"/>
                  </a:lnTo>
                  <a:close/>
                </a:path>
              </a:pathLst>
            </a:custGeom>
            <a:solidFill>
              <a:srgbClr val="EBF4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19" name="Freeform 16">
              <a:extLst>
                <a:ext uri="{FF2B5EF4-FFF2-40B4-BE49-F238E27FC236}">
                  <a16:creationId xmlns:a16="http://schemas.microsoft.com/office/drawing/2014/main" id="{6BD41D08-1FE6-400F-9D41-47595AF43607}"/>
                </a:ext>
              </a:extLst>
            </p:cNvPr>
            <p:cNvSpPr>
              <a:spLocks/>
            </p:cNvSpPr>
            <p:nvPr/>
          </p:nvSpPr>
          <p:spPr bwMode="auto">
            <a:xfrm>
              <a:off x="8164513" y="4892675"/>
              <a:ext cx="1725613" cy="1968500"/>
            </a:xfrm>
            <a:custGeom>
              <a:avLst/>
              <a:gdLst>
                <a:gd name="T0" fmla="*/ 703 w 1087"/>
                <a:gd name="T1" fmla="*/ 0 h 1240"/>
                <a:gd name="T2" fmla="*/ 605 w 1087"/>
                <a:gd name="T3" fmla="*/ 271 h 1240"/>
                <a:gd name="T4" fmla="*/ 866 w 1087"/>
                <a:gd name="T5" fmla="*/ 542 h 1240"/>
                <a:gd name="T6" fmla="*/ 698 w 1087"/>
                <a:gd name="T7" fmla="*/ 914 h 1240"/>
                <a:gd name="T8" fmla="*/ 1087 w 1087"/>
                <a:gd name="T9" fmla="*/ 1238 h 1240"/>
                <a:gd name="T10" fmla="*/ 0 w 1087"/>
                <a:gd name="T11" fmla="*/ 1240 h 1240"/>
                <a:gd name="T12" fmla="*/ 703 w 1087"/>
                <a:gd name="T13" fmla="*/ 0 h 1240"/>
              </a:gdLst>
              <a:ahLst/>
              <a:cxnLst>
                <a:cxn ang="0">
                  <a:pos x="T0" y="T1"/>
                </a:cxn>
                <a:cxn ang="0">
                  <a:pos x="T2" y="T3"/>
                </a:cxn>
                <a:cxn ang="0">
                  <a:pos x="T4" y="T5"/>
                </a:cxn>
                <a:cxn ang="0">
                  <a:pos x="T6" y="T7"/>
                </a:cxn>
                <a:cxn ang="0">
                  <a:pos x="T8" y="T9"/>
                </a:cxn>
                <a:cxn ang="0">
                  <a:pos x="T10" y="T11"/>
                </a:cxn>
                <a:cxn ang="0">
                  <a:pos x="T12" y="T13"/>
                </a:cxn>
              </a:cxnLst>
              <a:rect l="0" t="0" r="r" b="b"/>
              <a:pathLst>
                <a:path w="1087" h="1240">
                  <a:moveTo>
                    <a:pt x="703" y="0"/>
                  </a:moveTo>
                  <a:lnTo>
                    <a:pt x="605" y="271"/>
                  </a:lnTo>
                  <a:lnTo>
                    <a:pt x="866" y="542"/>
                  </a:lnTo>
                  <a:lnTo>
                    <a:pt x="698" y="914"/>
                  </a:lnTo>
                  <a:lnTo>
                    <a:pt x="1087" y="1238"/>
                  </a:lnTo>
                  <a:lnTo>
                    <a:pt x="0" y="1240"/>
                  </a:lnTo>
                  <a:lnTo>
                    <a:pt x="703" y="0"/>
                  </a:lnTo>
                  <a:close/>
                </a:path>
              </a:pathLst>
            </a:custGeom>
            <a:solidFill>
              <a:srgbClr val="B2D2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20" name="Freeform 17">
              <a:extLst>
                <a:ext uri="{FF2B5EF4-FFF2-40B4-BE49-F238E27FC236}">
                  <a16:creationId xmlns:a16="http://schemas.microsoft.com/office/drawing/2014/main" id="{1A4D4D97-C72F-4E76-9E62-1D27A1C8D879}"/>
                </a:ext>
              </a:extLst>
            </p:cNvPr>
            <p:cNvSpPr>
              <a:spLocks/>
            </p:cNvSpPr>
            <p:nvPr/>
          </p:nvSpPr>
          <p:spPr bwMode="auto">
            <a:xfrm>
              <a:off x="5265738" y="5689600"/>
              <a:ext cx="1541463" cy="1168400"/>
            </a:xfrm>
            <a:custGeom>
              <a:avLst/>
              <a:gdLst>
                <a:gd name="T0" fmla="*/ 0 w 971"/>
                <a:gd name="T1" fmla="*/ 736 h 736"/>
                <a:gd name="T2" fmla="*/ 454 w 971"/>
                <a:gd name="T3" fmla="*/ 0 h 736"/>
                <a:gd name="T4" fmla="*/ 971 w 971"/>
                <a:gd name="T5" fmla="*/ 734 h 736"/>
                <a:gd name="T6" fmla="*/ 0 w 971"/>
                <a:gd name="T7" fmla="*/ 736 h 736"/>
              </a:gdLst>
              <a:ahLst/>
              <a:cxnLst>
                <a:cxn ang="0">
                  <a:pos x="T0" y="T1"/>
                </a:cxn>
                <a:cxn ang="0">
                  <a:pos x="T2" y="T3"/>
                </a:cxn>
                <a:cxn ang="0">
                  <a:pos x="T4" y="T5"/>
                </a:cxn>
                <a:cxn ang="0">
                  <a:pos x="T6" y="T7"/>
                </a:cxn>
              </a:cxnLst>
              <a:rect l="0" t="0" r="r" b="b"/>
              <a:pathLst>
                <a:path w="971" h="736">
                  <a:moveTo>
                    <a:pt x="0" y="736"/>
                  </a:moveTo>
                  <a:lnTo>
                    <a:pt x="454" y="0"/>
                  </a:lnTo>
                  <a:lnTo>
                    <a:pt x="971" y="734"/>
                  </a:lnTo>
                  <a:lnTo>
                    <a:pt x="0" y="736"/>
                  </a:lnTo>
                  <a:close/>
                </a:path>
              </a:pathLst>
            </a:custGeom>
            <a:solidFill>
              <a:srgbClr val="89B5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21" name="Freeform 18">
              <a:extLst>
                <a:ext uri="{FF2B5EF4-FFF2-40B4-BE49-F238E27FC236}">
                  <a16:creationId xmlns:a16="http://schemas.microsoft.com/office/drawing/2014/main" id="{65B11031-3CC4-4058-A111-0E7FC6C00B34}"/>
                </a:ext>
              </a:extLst>
            </p:cNvPr>
            <p:cNvSpPr>
              <a:spLocks/>
            </p:cNvSpPr>
            <p:nvPr/>
          </p:nvSpPr>
          <p:spPr bwMode="auto">
            <a:xfrm>
              <a:off x="5265738" y="5689600"/>
              <a:ext cx="1541463" cy="1168400"/>
            </a:xfrm>
            <a:custGeom>
              <a:avLst/>
              <a:gdLst>
                <a:gd name="T0" fmla="*/ 0 w 971"/>
                <a:gd name="T1" fmla="*/ 736 h 736"/>
                <a:gd name="T2" fmla="*/ 454 w 971"/>
                <a:gd name="T3" fmla="*/ 0 h 736"/>
                <a:gd name="T4" fmla="*/ 971 w 971"/>
                <a:gd name="T5" fmla="*/ 734 h 736"/>
              </a:gdLst>
              <a:ahLst/>
              <a:cxnLst>
                <a:cxn ang="0">
                  <a:pos x="T0" y="T1"/>
                </a:cxn>
                <a:cxn ang="0">
                  <a:pos x="T2" y="T3"/>
                </a:cxn>
                <a:cxn ang="0">
                  <a:pos x="T4" y="T5"/>
                </a:cxn>
              </a:cxnLst>
              <a:rect l="0" t="0" r="r" b="b"/>
              <a:pathLst>
                <a:path w="971" h="736">
                  <a:moveTo>
                    <a:pt x="0" y="736"/>
                  </a:moveTo>
                  <a:lnTo>
                    <a:pt x="454" y="0"/>
                  </a:lnTo>
                  <a:lnTo>
                    <a:pt x="971" y="7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22" name="Freeform 19">
              <a:extLst>
                <a:ext uri="{FF2B5EF4-FFF2-40B4-BE49-F238E27FC236}">
                  <a16:creationId xmlns:a16="http://schemas.microsoft.com/office/drawing/2014/main" id="{79E54FEE-6D74-43DF-8E00-F2EA85D50BB1}"/>
                </a:ext>
              </a:extLst>
            </p:cNvPr>
            <p:cNvSpPr>
              <a:spLocks/>
            </p:cNvSpPr>
            <p:nvPr/>
          </p:nvSpPr>
          <p:spPr bwMode="auto">
            <a:xfrm>
              <a:off x="5208588" y="5689600"/>
              <a:ext cx="777875" cy="1165225"/>
            </a:xfrm>
            <a:custGeom>
              <a:avLst/>
              <a:gdLst>
                <a:gd name="T0" fmla="*/ 490 w 490"/>
                <a:gd name="T1" fmla="*/ 0 h 734"/>
                <a:gd name="T2" fmla="*/ 398 w 490"/>
                <a:gd name="T3" fmla="*/ 734 h 734"/>
                <a:gd name="T4" fmla="*/ 0 w 490"/>
                <a:gd name="T5" fmla="*/ 734 h 734"/>
                <a:gd name="T6" fmla="*/ 490 w 490"/>
                <a:gd name="T7" fmla="*/ 0 h 734"/>
              </a:gdLst>
              <a:ahLst/>
              <a:cxnLst>
                <a:cxn ang="0">
                  <a:pos x="T0" y="T1"/>
                </a:cxn>
                <a:cxn ang="0">
                  <a:pos x="T2" y="T3"/>
                </a:cxn>
                <a:cxn ang="0">
                  <a:pos x="T4" y="T5"/>
                </a:cxn>
                <a:cxn ang="0">
                  <a:pos x="T6" y="T7"/>
                </a:cxn>
              </a:cxnLst>
              <a:rect l="0" t="0" r="r" b="b"/>
              <a:pathLst>
                <a:path w="490" h="734">
                  <a:moveTo>
                    <a:pt x="490" y="0"/>
                  </a:moveTo>
                  <a:lnTo>
                    <a:pt x="398" y="734"/>
                  </a:lnTo>
                  <a:lnTo>
                    <a:pt x="0" y="734"/>
                  </a:lnTo>
                  <a:lnTo>
                    <a:pt x="490" y="0"/>
                  </a:lnTo>
                  <a:close/>
                </a:path>
              </a:pathLst>
            </a:custGeom>
            <a:solidFill>
              <a:srgbClr val="6C9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23" name="Freeform 20">
              <a:extLst>
                <a:ext uri="{FF2B5EF4-FFF2-40B4-BE49-F238E27FC236}">
                  <a16:creationId xmlns:a16="http://schemas.microsoft.com/office/drawing/2014/main" id="{FC664824-A8A9-4548-B2C9-7265F682C9C6}"/>
                </a:ext>
              </a:extLst>
            </p:cNvPr>
            <p:cNvSpPr>
              <a:spLocks/>
            </p:cNvSpPr>
            <p:nvPr/>
          </p:nvSpPr>
          <p:spPr bwMode="auto">
            <a:xfrm>
              <a:off x="4476750" y="5875338"/>
              <a:ext cx="1292225" cy="982663"/>
            </a:xfrm>
            <a:custGeom>
              <a:avLst/>
              <a:gdLst>
                <a:gd name="T0" fmla="*/ 0 w 814"/>
                <a:gd name="T1" fmla="*/ 619 h 619"/>
                <a:gd name="T2" fmla="*/ 380 w 814"/>
                <a:gd name="T3" fmla="*/ 0 h 619"/>
                <a:gd name="T4" fmla="*/ 814 w 814"/>
                <a:gd name="T5" fmla="*/ 617 h 619"/>
                <a:gd name="T6" fmla="*/ 0 w 814"/>
                <a:gd name="T7" fmla="*/ 619 h 619"/>
              </a:gdLst>
              <a:ahLst/>
              <a:cxnLst>
                <a:cxn ang="0">
                  <a:pos x="T0" y="T1"/>
                </a:cxn>
                <a:cxn ang="0">
                  <a:pos x="T2" y="T3"/>
                </a:cxn>
                <a:cxn ang="0">
                  <a:pos x="T4" y="T5"/>
                </a:cxn>
                <a:cxn ang="0">
                  <a:pos x="T6" y="T7"/>
                </a:cxn>
              </a:cxnLst>
              <a:rect l="0" t="0" r="r" b="b"/>
              <a:pathLst>
                <a:path w="814" h="619">
                  <a:moveTo>
                    <a:pt x="0" y="619"/>
                  </a:moveTo>
                  <a:lnTo>
                    <a:pt x="380" y="0"/>
                  </a:lnTo>
                  <a:lnTo>
                    <a:pt x="814" y="617"/>
                  </a:lnTo>
                  <a:lnTo>
                    <a:pt x="0" y="619"/>
                  </a:lnTo>
                  <a:close/>
                </a:path>
              </a:pathLst>
            </a:custGeom>
            <a:solidFill>
              <a:srgbClr val="89B5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24" name="Freeform 21">
              <a:extLst>
                <a:ext uri="{FF2B5EF4-FFF2-40B4-BE49-F238E27FC236}">
                  <a16:creationId xmlns:a16="http://schemas.microsoft.com/office/drawing/2014/main" id="{467B79C9-C6A9-44E2-9FD7-ABC34186493D}"/>
                </a:ext>
              </a:extLst>
            </p:cNvPr>
            <p:cNvSpPr>
              <a:spLocks/>
            </p:cNvSpPr>
            <p:nvPr/>
          </p:nvSpPr>
          <p:spPr bwMode="auto">
            <a:xfrm>
              <a:off x="4476750" y="5875338"/>
              <a:ext cx="1292225" cy="982663"/>
            </a:xfrm>
            <a:custGeom>
              <a:avLst/>
              <a:gdLst>
                <a:gd name="T0" fmla="*/ 0 w 814"/>
                <a:gd name="T1" fmla="*/ 619 h 619"/>
                <a:gd name="T2" fmla="*/ 380 w 814"/>
                <a:gd name="T3" fmla="*/ 0 h 619"/>
                <a:gd name="T4" fmla="*/ 814 w 814"/>
                <a:gd name="T5" fmla="*/ 617 h 619"/>
              </a:gdLst>
              <a:ahLst/>
              <a:cxnLst>
                <a:cxn ang="0">
                  <a:pos x="T0" y="T1"/>
                </a:cxn>
                <a:cxn ang="0">
                  <a:pos x="T2" y="T3"/>
                </a:cxn>
                <a:cxn ang="0">
                  <a:pos x="T4" y="T5"/>
                </a:cxn>
              </a:cxnLst>
              <a:rect l="0" t="0" r="r" b="b"/>
              <a:pathLst>
                <a:path w="814" h="619">
                  <a:moveTo>
                    <a:pt x="0" y="619"/>
                  </a:moveTo>
                  <a:lnTo>
                    <a:pt x="380" y="0"/>
                  </a:lnTo>
                  <a:lnTo>
                    <a:pt x="814" y="6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25" name="Freeform 22">
              <a:extLst>
                <a:ext uri="{FF2B5EF4-FFF2-40B4-BE49-F238E27FC236}">
                  <a16:creationId xmlns:a16="http://schemas.microsoft.com/office/drawing/2014/main" id="{53FA8697-7992-481B-8483-62287E49A5D1}"/>
                </a:ext>
              </a:extLst>
            </p:cNvPr>
            <p:cNvSpPr>
              <a:spLocks/>
            </p:cNvSpPr>
            <p:nvPr/>
          </p:nvSpPr>
          <p:spPr bwMode="auto">
            <a:xfrm>
              <a:off x="4429125" y="5875338"/>
              <a:ext cx="650875" cy="979488"/>
            </a:xfrm>
            <a:custGeom>
              <a:avLst/>
              <a:gdLst>
                <a:gd name="T0" fmla="*/ 410 w 410"/>
                <a:gd name="T1" fmla="*/ 0 h 617"/>
                <a:gd name="T2" fmla="*/ 333 w 410"/>
                <a:gd name="T3" fmla="*/ 617 h 617"/>
                <a:gd name="T4" fmla="*/ 0 w 410"/>
                <a:gd name="T5" fmla="*/ 617 h 617"/>
                <a:gd name="T6" fmla="*/ 410 w 410"/>
                <a:gd name="T7" fmla="*/ 0 h 617"/>
              </a:gdLst>
              <a:ahLst/>
              <a:cxnLst>
                <a:cxn ang="0">
                  <a:pos x="T0" y="T1"/>
                </a:cxn>
                <a:cxn ang="0">
                  <a:pos x="T2" y="T3"/>
                </a:cxn>
                <a:cxn ang="0">
                  <a:pos x="T4" y="T5"/>
                </a:cxn>
                <a:cxn ang="0">
                  <a:pos x="T6" y="T7"/>
                </a:cxn>
              </a:cxnLst>
              <a:rect l="0" t="0" r="r" b="b"/>
              <a:pathLst>
                <a:path w="410" h="617">
                  <a:moveTo>
                    <a:pt x="410" y="0"/>
                  </a:moveTo>
                  <a:lnTo>
                    <a:pt x="333" y="617"/>
                  </a:lnTo>
                  <a:lnTo>
                    <a:pt x="0" y="617"/>
                  </a:lnTo>
                  <a:lnTo>
                    <a:pt x="410" y="0"/>
                  </a:lnTo>
                  <a:close/>
                </a:path>
              </a:pathLst>
            </a:custGeom>
            <a:solidFill>
              <a:srgbClr val="6C9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26" name="Freeform 23">
              <a:extLst>
                <a:ext uri="{FF2B5EF4-FFF2-40B4-BE49-F238E27FC236}">
                  <a16:creationId xmlns:a16="http://schemas.microsoft.com/office/drawing/2014/main" id="{814B2984-C0B5-462E-84CD-473D06B8C9D9}"/>
                </a:ext>
              </a:extLst>
            </p:cNvPr>
            <p:cNvSpPr>
              <a:spLocks/>
            </p:cNvSpPr>
            <p:nvPr/>
          </p:nvSpPr>
          <p:spPr bwMode="auto">
            <a:xfrm>
              <a:off x="6372225" y="5099050"/>
              <a:ext cx="534988" cy="711200"/>
            </a:xfrm>
            <a:custGeom>
              <a:avLst/>
              <a:gdLst>
                <a:gd name="T0" fmla="*/ 264 w 337"/>
                <a:gd name="T1" fmla="*/ 0 h 448"/>
                <a:gd name="T2" fmla="*/ 0 w 337"/>
                <a:gd name="T3" fmla="*/ 396 h 448"/>
                <a:gd name="T4" fmla="*/ 119 w 337"/>
                <a:gd name="T5" fmla="*/ 448 h 448"/>
                <a:gd name="T6" fmla="*/ 337 w 337"/>
                <a:gd name="T7" fmla="*/ 120 h 448"/>
                <a:gd name="T8" fmla="*/ 264 w 337"/>
                <a:gd name="T9" fmla="*/ 0 h 448"/>
              </a:gdLst>
              <a:ahLst/>
              <a:cxnLst>
                <a:cxn ang="0">
                  <a:pos x="T0" y="T1"/>
                </a:cxn>
                <a:cxn ang="0">
                  <a:pos x="T2" y="T3"/>
                </a:cxn>
                <a:cxn ang="0">
                  <a:pos x="T4" y="T5"/>
                </a:cxn>
                <a:cxn ang="0">
                  <a:pos x="T6" y="T7"/>
                </a:cxn>
                <a:cxn ang="0">
                  <a:pos x="T8" y="T9"/>
                </a:cxn>
              </a:cxnLst>
              <a:rect l="0" t="0" r="r" b="b"/>
              <a:pathLst>
                <a:path w="337" h="448">
                  <a:moveTo>
                    <a:pt x="264" y="0"/>
                  </a:moveTo>
                  <a:lnTo>
                    <a:pt x="0" y="396"/>
                  </a:lnTo>
                  <a:lnTo>
                    <a:pt x="119" y="448"/>
                  </a:lnTo>
                  <a:lnTo>
                    <a:pt x="337" y="120"/>
                  </a:lnTo>
                  <a:lnTo>
                    <a:pt x="264" y="0"/>
                  </a:lnTo>
                  <a:close/>
                </a:path>
              </a:pathLst>
            </a:custGeom>
            <a:solidFill>
              <a:srgbClr val="6C9D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grpSp>
      <p:pic>
        <p:nvPicPr>
          <p:cNvPr id="28" name="Picture 27">
            <a:extLst>
              <a:ext uri="{FF2B5EF4-FFF2-40B4-BE49-F238E27FC236}">
                <a16:creationId xmlns:a16="http://schemas.microsoft.com/office/drawing/2014/main" id="{6D5C4AA7-91C5-407A-A23E-A161512BF2DF}"/>
              </a:ext>
            </a:extLst>
          </p:cNvPr>
          <p:cNvPicPr>
            <a:picLocks noChangeAspect="1"/>
          </p:cNvPicPr>
          <p:nvPr/>
        </p:nvPicPr>
        <p:blipFill>
          <a:blip r:embed="rId3"/>
          <a:stretch>
            <a:fillRect/>
          </a:stretch>
        </p:blipFill>
        <p:spPr>
          <a:xfrm>
            <a:off x="2811043" y="3241383"/>
            <a:ext cx="5601975" cy="80952"/>
          </a:xfrm>
          <a:prstGeom prst="rect">
            <a:avLst/>
          </a:prstGeom>
        </p:spPr>
      </p:pic>
      <p:sp>
        <p:nvSpPr>
          <p:cNvPr id="3" name="Freeform: Shape 2">
            <a:extLst>
              <a:ext uri="{FF2B5EF4-FFF2-40B4-BE49-F238E27FC236}">
                <a16:creationId xmlns:a16="http://schemas.microsoft.com/office/drawing/2014/main" id="{837C84E4-B185-4E58-8210-0BB0471151C4}"/>
              </a:ext>
            </a:extLst>
          </p:cNvPr>
          <p:cNvSpPr>
            <a:spLocks/>
          </p:cNvSpPr>
          <p:nvPr/>
        </p:nvSpPr>
        <p:spPr bwMode="auto">
          <a:xfrm>
            <a:off x="2138239" y="447"/>
            <a:ext cx="7277967" cy="6857107"/>
          </a:xfrm>
          <a:custGeom>
            <a:avLst/>
            <a:gdLst>
              <a:gd name="connsiteX0" fmla="*/ 6844380 w 14557829"/>
              <a:gd name="connsiteY0" fmla="*/ 2541813 h 13716000"/>
              <a:gd name="connsiteX1" fmla="*/ 5361045 w 14557829"/>
              <a:gd name="connsiteY1" fmla="*/ 3157671 h 13716000"/>
              <a:gd name="connsiteX2" fmla="*/ 4874249 w 14557829"/>
              <a:gd name="connsiteY2" fmla="*/ 3284182 h 13716000"/>
              <a:gd name="connsiteX3" fmla="*/ 4858112 w 14557829"/>
              <a:gd name="connsiteY3" fmla="*/ 3278798 h 13716000"/>
              <a:gd name="connsiteX4" fmla="*/ 2918994 w 14557829"/>
              <a:gd name="connsiteY4" fmla="*/ 4358179 h 13716000"/>
              <a:gd name="connsiteX5" fmla="*/ 2994299 w 14557829"/>
              <a:gd name="connsiteY5" fmla="*/ 5440251 h 13716000"/>
              <a:gd name="connsiteX6" fmla="*/ 2921683 w 14557829"/>
              <a:gd name="connsiteY6" fmla="*/ 6271993 h 13716000"/>
              <a:gd name="connsiteX7" fmla="*/ 2730730 w 14557829"/>
              <a:gd name="connsiteY7" fmla="*/ 6689210 h 13716000"/>
              <a:gd name="connsiteX8" fmla="*/ 3766181 w 14557829"/>
              <a:gd name="connsiteY8" fmla="*/ 8635324 h 13716000"/>
              <a:gd name="connsiteX9" fmla="*/ 3854934 w 14557829"/>
              <a:gd name="connsiteY9" fmla="*/ 8659550 h 13716000"/>
              <a:gd name="connsiteX10" fmla="*/ 4274494 w 14557829"/>
              <a:gd name="connsiteY10" fmla="*/ 8977173 h 13716000"/>
              <a:gd name="connsiteX11" fmla="*/ 5530483 w 14557829"/>
              <a:gd name="connsiteY11" fmla="*/ 9956960 h 13716000"/>
              <a:gd name="connsiteX12" fmla="*/ 6955909 w 14557829"/>
              <a:gd name="connsiteY12" fmla="*/ 9849291 h 13716000"/>
              <a:gd name="connsiteX13" fmla="*/ 7442706 w 14557829"/>
              <a:gd name="connsiteY13" fmla="*/ 9868133 h 13716000"/>
              <a:gd name="connsiteX14" fmla="*/ 7765444 w 14557829"/>
              <a:gd name="connsiteY14" fmla="*/ 9997336 h 13716000"/>
              <a:gd name="connsiteX15" fmla="*/ 8954196 w 14557829"/>
              <a:gd name="connsiteY15" fmla="*/ 9854674 h 13716000"/>
              <a:gd name="connsiteX16" fmla="*/ 9298450 w 14557829"/>
              <a:gd name="connsiteY16" fmla="*/ 9816990 h 13716000"/>
              <a:gd name="connsiteX17" fmla="*/ 9403340 w 14557829"/>
              <a:gd name="connsiteY17" fmla="*/ 9851983 h 13716000"/>
              <a:gd name="connsiteX18" fmla="*/ 12437078 w 14557829"/>
              <a:gd name="connsiteY18" fmla="*/ 8142740 h 13716000"/>
              <a:gd name="connsiteX19" fmla="*/ 12340256 w 14557829"/>
              <a:gd name="connsiteY19" fmla="*/ 6533090 h 13716000"/>
              <a:gd name="connsiteX20" fmla="*/ 12216540 w 14557829"/>
              <a:gd name="connsiteY20" fmla="*/ 5965137 h 13716000"/>
              <a:gd name="connsiteX21" fmla="*/ 10419965 w 14557829"/>
              <a:gd name="connsiteY21" fmla="*/ 3661023 h 13716000"/>
              <a:gd name="connsiteX22" fmla="*/ 9556640 w 14557829"/>
              <a:gd name="connsiteY22" fmla="*/ 3577580 h 13716000"/>
              <a:gd name="connsiteX23" fmla="*/ 8311409 w 14557829"/>
              <a:gd name="connsiteY23" fmla="*/ 3138829 h 13716000"/>
              <a:gd name="connsiteX24" fmla="*/ 7410432 w 14557829"/>
              <a:gd name="connsiteY24" fmla="*/ 2619327 h 13716000"/>
              <a:gd name="connsiteX25" fmla="*/ 6844380 w 14557829"/>
              <a:gd name="connsiteY25" fmla="*/ 2541813 h 13716000"/>
              <a:gd name="connsiteX26" fmla="*/ 0 w 14557829"/>
              <a:gd name="connsiteY26" fmla="*/ 0 h 13716000"/>
              <a:gd name="connsiteX27" fmla="*/ 14557829 w 14557829"/>
              <a:gd name="connsiteY27" fmla="*/ 0 h 13716000"/>
              <a:gd name="connsiteX28" fmla="*/ 14557829 w 14557829"/>
              <a:gd name="connsiteY28" fmla="*/ 13716000 h 13716000"/>
              <a:gd name="connsiteX29" fmla="*/ 0 w 14557829"/>
              <a:gd name="connsiteY29"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4557829" h="13716000">
                <a:moveTo>
                  <a:pt x="6844380" y="2541813"/>
                </a:moveTo>
                <a:cubicBezTo>
                  <a:pt x="6283371" y="2541940"/>
                  <a:pt x="5750348" y="2768044"/>
                  <a:pt x="5361045" y="3157671"/>
                </a:cubicBezTo>
                <a:cubicBezTo>
                  <a:pt x="5231950" y="3284182"/>
                  <a:pt x="5046376" y="3335325"/>
                  <a:pt x="4874249" y="3284182"/>
                </a:cubicBezTo>
                <a:cubicBezTo>
                  <a:pt x="4868870" y="3281490"/>
                  <a:pt x="4863491" y="3281490"/>
                  <a:pt x="4858112" y="3278798"/>
                </a:cubicBezTo>
                <a:cubicBezTo>
                  <a:pt x="4024372" y="3044619"/>
                  <a:pt x="3161047" y="3523745"/>
                  <a:pt x="2918994" y="4358179"/>
                </a:cubicBezTo>
                <a:cubicBezTo>
                  <a:pt x="2811414" y="4732328"/>
                  <a:pt x="2846378" y="5111862"/>
                  <a:pt x="2994299" y="5440251"/>
                </a:cubicBezTo>
                <a:cubicBezTo>
                  <a:pt x="3115326" y="5712115"/>
                  <a:pt x="3083052" y="6024355"/>
                  <a:pt x="2921683" y="6271993"/>
                </a:cubicBezTo>
                <a:cubicBezTo>
                  <a:pt x="2840999" y="6395812"/>
                  <a:pt x="2773762" y="6538473"/>
                  <a:pt x="2730730" y="6689210"/>
                </a:cubicBezTo>
                <a:cubicBezTo>
                  <a:pt x="2488676" y="7515569"/>
                  <a:pt x="2945889" y="8374228"/>
                  <a:pt x="3766181" y="8635324"/>
                </a:cubicBezTo>
                <a:cubicBezTo>
                  <a:pt x="3795766" y="8643400"/>
                  <a:pt x="3825350" y="8651475"/>
                  <a:pt x="3854934" y="8659550"/>
                </a:cubicBezTo>
                <a:cubicBezTo>
                  <a:pt x="4032440" y="8705310"/>
                  <a:pt x="4183051" y="8818362"/>
                  <a:pt x="4274494" y="8977173"/>
                </a:cubicBezTo>
                <a:cubicBezTo>
                  <a:pt x="4538063" y="9440150"/>
                  <a:pt x="4976449" y="9800840"/>
                  <a:pt x="5530483" y="9956960"/>
                </a:cubicBezTo>
                <a:cubicBezTo>
                  <a:pt x="6022658" y="10094238"/>
                  <a:pt x="6522902" y="10043095"/>
                  <a:pt x="6955909" y="9849291"/>
                </a:cubicBezTo>
                <a:cubicBezTo>
                  <a:pt x="7111900" y="9779306"/>
                  <a:pt x="7292095" y="9784690"/>
                  <a:pt x="7442706" y="9868133"/>
                </a:cubicBezTo>
                <a:cubicBezTo>
                  <a:pt x="7542217" y="9921968"/>
                  <a:pt x="7649796" y="9965035"/>
                  <a:pt x="7765444" y="9997336"/>
                </a:cubicBezTo>
                <a:cubicBezTo>
                  <a:pt x="8182314" y="10115772"/>
                  <a:pt x="8607252" y="10051170"/>
                  <a:pt x="8954196" y="9854674"/>
                </a:cubicBezTo>
                <a:cubicBezTo>
                  <a:pt x="9059086" y="9795456"/>
                  <a:pt x="9182802" y="9781998"/>
                  <a:pt x="9298450" y="9816990"/>
                </a:cubicBezTo>
                <a:cubicBezTo>
                  <a:pt x="9333413" y="9830449"/>
                  <a:pt x="9368376" y="9841216"/>
                  <a:pt x="9403340" y="9851983"/>
                </a:cubicBezTo>
                <a:cubicBezTo>
                  <a:pt x="10713118" y="10218057"/>
                  <a:pt x="12071308" y="9453608"/>
                  <a:pt x="12437078" y="8142740"/>
                </a:cubicBezTo>
                <a:cubicBezTo>
                  <a:pt x="12593068" y="7588245"/>
                  <a:pt x="12544657" y="7025675"/>
                  <a:pt x="12340256" y="6533090"/>
                </a:cubicBezTo>
                <a:cubicBezTo>
                  <a:pt x="12264951" y="6352745"/>
                  <a:pt x="12221919" y="6161632"/>
                  <a:pt x="12216540" y="5965137"/>
                </a:cubicBezTo>
                <a:cubicBezTo>
                  <a:pt x="12186956" y="4915365"/>
                  <a:pt x="11485001" y="3959804"/>
                  <a:pt x="10419965" y="3661023"/>
                </a:cubicBezTo>
                <a:cubicBezTo>
                  <a:pt x="10129500" y="3580271"/>
                  <a:pt x="9839036" y="3556046"/>
                  <a:pt x="9556640" y="3577580"/>
                </a:cubicBezTo>
                <a:cubicBezTo>
                  <a:pt x="9096738" y="3615264"/>
                  <a:pt x="8639526" y="3459144"/>
                  <a:pt x="8311409" y="3138829"/>
                </a:cubicBezTo>
                <a:cubicBezTo>
                  <a:pt x="8066666" y="2899266"/>
                  <a:pt x="7762755" y="2718920"/>
                  <a:pt x="7410432" y="2619327"/>
                </a:cubicBezTo>
                <a:cubicBezTo>
                  <a:pt x="7221496" y="2566838"/>
                  <a:pt x="7031383" y="2541771"/>
                  <a:pt x="6844380" y="2541813"/>
                </a:cubicBezTo>
                <a:close/>
                <a:moveTo>
                  <a:pt x="0" y="0"/>
                </a:moveTo>
                <a:lnTo>
                  <a:pt x="14557829" y="0"/>
                </a:lnTo>
                <a:lnTo>
                  <a:pt x="14557829" y="13716000"/>
                </a:lnTo>
                <a:lnTo>
                  <a:pt x="0" y="13716000"/>
                </a:lnTo>
                <a:close/>
              </a:path>
            </a:pathLst>
          </a:custGeom>
          <a:solidFill>
            <a:srgbClr val="F3F8FF"/>
          </a:solidFill>
          <a:ln>
            <a:noFill/>
          </a:ln>
          <a:effectLst>
            <a:outerShdw blurRad="393700" sx="93000" sy="93000" algn="ctr" rotWithShape="0">
              <a:srgbClr val="8FBAF9">
                <a:alpha val="23000"/>
              </a:srgbClr>
            </a:outerShdw>
          </a:effec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46" name="Freeform 40">
            <a:extLst>
              <a:ext uri="{FF2B5EF4-FFF2-40B4-BE49-F238E27FC236}">
                <a16:creationId xmlns:a16="http://schemas.microsoft.com/office/drawing/2014/main" id="{610A96D5-BF81-45AF-AA2D-5DF2C16F87ED}"/>
              </a:ext>
            </a:extLst>
          </p:cNvPr>
          <p:cNvSpPr>
            <a:spLocks/>
          </p:cNvSpPr>
          <p:nvPr/>
        </p:nvSpPr>
        <p:spPr bwMode="auto">
          <a:xfrm>
            <a:off x="3658553" y="1111592"/>
            <a:ext cx="1626976" cy="620632"/>
          </a:xfrm>
          <a:custGeom>
            <a:avLst/>
            <a:gdLst>
              <a:gd name="T0" fmla="*/ 1105 w 1186"/>
              <a:gd name="T1" fmla="*/ 255 h 451"/>
              <a:gd name="T2" fmla="*/ 1073 w 1186"/>
              <a:gd name="T3" fmla="*/ 236 h 451"/>
              <a:gd name="T4" fmla="*/ 975 w 1186"/>
              <a:gd name="T5" fmla="*/ 190 h 451"/>
              <a:gd name="T6" fmla="*/ 895 w 1186"/>
              <a:gd name="T7" fmla="*/ 218 h 451"/>
              <a:gd name="T8" fmla="*/ 875 w 1186"/>
              <a:gd name="T9" fmla="*/ 215 h 451"/>
              <a:gd name="T10" fmla="*/ 695 w 1186"/>
              <a:gd name="T11" fmla="*/ 77 h 451"/>
              <a:gd name="T12" fmla="*/ 687 w 1186"/>
              <a:gd name="T13" fmla="*/ 78 h 451"/>
              <a:gd name="T14" fmla="*/ 644 w 1186"/>
              <a:gd name="T15" fmla="*/ 62 h 451"/>
              <a:gd name="T16" fmla="*/ 489 w 1186"/>
              <a:gd name="T17" fmla="*/ 0 h 451"/>
              <a:gd name="T18" fmla="*/ 316 w 1186"/>
              <a:gd name="T19" fmla="*/ 82 h 451"/>
              <a:gd name="T20" fmla="*/ 270 w 1186"/>
              <a:gd name="T21" fmla="*/ 103 h 451"/>
              <a:gd name="T22" fmla="*/ 269 w 1186"/>
              <a:gd name="T23" fmla="*/ 103 h 451"/>
              <a:gd name="T24" fmla="*/ 126 w 1186"/>
              <a:gd name="T25" fmla="*/ 177 h 451"/>
              <a:gd name="T26" fmla="*/ 96 w 1186"/>
              <a:gd name="T27" fmla="*/ 199 h 451"/>
              <a:gd name="T28" fmla="*/ 6 w 1186"/>
              <a:gd name="T29" fmla="*/ 335 h 451"/>
              <a:gd name="T30" fmla="*/ 123 w 1186"/>
              <a:gd name="T31" fmla="*/ 450 h 451"/>
              <a:gd name="T32" fmla="*/ 162 w 1186"/>
              <a:gd name="T33" fmla="*/ 448 h 451"/>
              <a:gd name="T34" fmla="*/ 231 w 1186"/>
              <a:gd name="T35" fmla="*/ 447 h 451"/>
              <a:gd name="T36" fmla="*/ 269 w 1186"/>
              <a:gd name="T37" fmla="*/ 451 h 451"/>
              <a:gd name="T38" fmla="*/ 329 w 1186"/>
              <a:gd name="T39" fmla="*/ 440 h 451"/>
              <a:gd name="T40" fmla="*/ 420 w 1186"/>
              <a:gd name="T41" fmla="*/ 440 h 451"/>
              <a:gd name="T42" fmla="*/ 489 w 1186"/>
              <a:gd name="T43" fmla="*/ 451 h 451"/>
              <a:gd name="T44" fmla="*/ 554 w 1186"/>
              <a:gd name="T45" fmla="*/ 441 h 451"/>
              <a:gd name="T46" fmla="*/ 641 w 1186"/>
              <a:gd name="T47" fmla="*/ 443 h 451"/>
              <a:gd name="T48" fmla="*/ 695 w 1186"/>
              <a:gd name="T49" fmla="*/ 451 h 451"/>
              <a:gd name="T50" fmla="*/ 747 w 1186"/>
              <a:gd name="T51" fmla="*/ 443 h 451"/>
              <a:gd name="T52" fmla="*/ 832 w 1186"/>
              <a:gd name="T53" fmla="*/ 445 h 451"/>
              <a:gd name="T54" fmla="*/ 869 w 1186"/>
              <a:gd name="T55" fmla="*/ 451 h 451"/>
              <a:gd name="T56" fmla="*/ 892 w 1186"/>
              <a:gd name="T57" fmla="*/ 448 h 451"/>
              <a:gd name="T58" fmla="*/ 949 w 1186"/>
              <a:gd name="T59" fmla="*/ 448 h 451"/>
              <a:gd name="T60" fmla="*/ 975 w 1186"/>
              <a:gd name="T61" fmla="*/ 451 h 451"/>
              <a:gd name="T62" fmla="*/ 1001 w 1186"/>
              <a:gd name="T63" fmla="*/ 448 h 451"/>
              <a:gd name="T64" fmla="*/ 1063 w 1186"/>
              <a:gd name="T65" fmla="*/ 448 h 451"/>
              <a:gd name="T66" fmla="*/ 1087 w 1186"/>
              <a:gd name="T67" fmla="*/ 451 h 451"/>
              <a:gd name="T68" fmla="*/ 1184 w 1186"/>
              <a:gd name="T69" fmla="*/ 349 h 451"/>
              <a:gd name="T70" fmla="*/ 1105 w 1186"/>
              <a:gd name="T71" fmla="*/ 25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86" h="451">
                <a:moveTo>
                  <a:pt x="1105" y="255"/>
                </a:moveTo>
                <a:cubicBezTo>
                  <a:pt x="1093" y="253"/>
                  <a:pt x="1082" y="245"/>
                  <a:pt x="1073" y="236"/>
                </a:cubicBezTo>
                <a:cubicBezTo>
                  <a:pt x="1049" y="208"/>
                  <a:pt x="1014" y="190"/>
                  <a:pt x="975" y="190"/>
                </a:cubicBezTo>
                <a:cubicBezTo>
                  <a:pt x="945" y="190"/>
                  <a:pt x="917" y="201"/>
                  <a:pt x="895" y="218"/>
                </a:cubicBezTo>
                <a:cubicBezTo>
                  <a:pt x="889" y="216"/>
                  <a:pt x="882" y="215"/>
                  <a:pt x="875" y="215"/>
                </a:cubicBezTo>
                <a:cubicBezTo>
                  <a:pt x="854" y="136"/>
                  <a:pt x="781" y="77"/>
                  <a:pt x="695" y="77"/>
                </a:cubicBezTo>
                <a:cubicBezTo>
                  <a:pt x="692" y="77"/>
                  <a:pt x="690" y="77"/>
                  <a:pt x="687" y="78"/>
                </a:cubicBezTo>
                <a:cubicBezTo>
                  <a:pt x="671" y="78"/>
                  <a:pt x="656" y="73"/>
                  <a:pt x="644" y="62"/>
                </a:cubicBezTo>
                <a:cubicBezTo>
                  <a:pt x="604" y="24"/>
                  <a:pt x="549" y="0"/>
                  <a:pt x="489" y="0"/>
                </a:cubicBezTo>
                <a:cubicBezTo>
                  <a:pt x="420" y="0"/>
                  <a:pt x="357" y="32"/>
                  <a:pt x="316" y="82"/>
                </a:cubicBezTo>
                <a:cubicBezTo>
                  <a:pt x="305" y="95"/>
                  <a:pt x="288" y="103"/>
                  <a:pt x="270" y="103"/>
                </a:cubicBezTo>
                <a:cubicBezTo>
                  <a:pt x="270" y="103"/>
                  <a:pt x="269" y="103"/>
                  <a:pt x="269" y="103"/>
                </a:cubicBezTo>
                <a:cubicBezTo>
                  <a:pt x="210" y="103"/>
                  <a:pt x="158" y="132"/>
                  <a:pt x="126" y="177"/>
                </a:cubicBezTo>
                <a:cubicBezTo>
                  <a:pt x="119" y="188"/>
                  <a:pt x="108" y="195"/>
                  <a:pt x="96" y="199"/>
                </a:cubicBezTo>
                <a:cubicBezTo>
                  <a:pt x="40" y="216"/>
                  <a:pt x="0" y="272"/>
                  <a:pt x="6" y="335"/>
                </a:cubicBezTo>
                <a:cubicBezTo>
                  <a:pt x="12" y="396"/>
                  <a:pt x="62" y="445"/>
                  <a:pt x="123" y="450"/>
                </a:cubicBezTo>
                <a:cubicBezTo>
                  <a:pt x="136" y="451"/>
                  <a:pt x="149" y="450"/>
                  <a:pt x="162" y="448"/>
                </a:cubicBezTo>
                <a:cubicBezTo>
                  <a:pt x="185" y="443"/>
                  <a:pt x="208" y="441"/>
                  <a:pt x="231" y="447"/>
                </a:cubicBezTo>
                <a:cubicBezTo>
                  <a:pt x="243" y="449"/>
                  <a:pt x="256" y="451"/>
                  <a:pt x="269" y="451"/>
                </a:cubicBezTo>
                <a:cubicBezTo>
                  <a:pt x="290" y="451"/>
                  <a:pt x="310" y="447"/>
                  <a:pt x="329" y="440"/>
                </a:cubicBezTo>
                <a:cubicBezTo>
                  <a:pt x="358" y="429"/>
                  <a:pt x="390" y="430"/>
                  <a:pt x="420" y="440"/>
                </a:cubicBezTo>
                <a:cubicBezTo>
                  <a:pt x="441" y="447"/>
                  <a:pt x="465" y="451"/>
                  <a:pt x="489" y="451"/>
                </a:cubicBezTo>
                <a:cubicBezTo>
                  <a:pt x="512" y="451"/>
                  <a:pt x="533" y="447"/>
                  <a:pt x="554" y="441"/>
                </a:cubicBezTo>
                <a:cubicBezTo>
                  <a:pt x="582" y="433"/>
                  <a:pt x="612" y="434"/>
                  <a:pt x="641" y="443"/>
                </a:cubicBezTo>
                <a:cubicBezTo>
                  <a:pt x="658" y="448"/>
                  <a:pt x="676" y="451"/>
                  <a:pt x="695" y="451"/>
                </a:cubicBezTo>
                <a:cubicBezTo>
                  <a:pt x="713" y="451"/>
                  <a:pt x="730" y="448"/>
                  <a:pt x="747" y="443"/>
                </a:cubicBezTo>
                <a:cubicBezTo>
                  <a:pt x="775" y="435"/>
                  <a:pt x="805" y="436"/>
                  <a:pt x="832" y="445"/>
                </a:cubicBezTo>
                <a:cubicBezTo>
                  <a:pt x="844" y="449"/>
                  <a:pt x="856" y="451"/>
                  <a:pt x="869" y="451"/>
                </a:cubicBezTo>
                <a:cubicBezTo>
                  <a:pt x="877" y="451"/>
                  <a:pt x="885" y="450"/>
                  <a:pt x="892" y="448"/>
                </a:cubicBezTo>
                <a:cubicBezTo>
                  <a:pt x="911" y="445"/>
                  <a:pt x="930" y="444"/>
                  <a:pt x="949" y="448"/>
                </a:cubicBezTo>
                <a:cubicBezTo>
                  <a:pt x="957" y="450"/>
                  <a:pt x="966" y="451"/>
                  <a:pt x="975" y="451"/>
                </a:cubicBezTo>
                <a:cubicBezTo>
                  <a:pt x="984" y="451"/>
                  <a:pt x="992" y="450"/>
                  <a:pt x="1001" y="448"/>
                </a:cubicBezTo>
                <a:cubicBezTo>
                  <a:pt x="1021" y="444"/>
                  <a:pt x="1043" y="443"/>
                  <a:pt x="1063" y="448"/>
                </a:cubicBezTo>
                <a:cubicBezTo>
                  <a:pt x="1071" y="450"/>
                  <a:pt x="1079" y="451"/>
                  <a:pt x="1087" y="451"/>
                </a:cubicBezTo>
                <a:cubicBezTo>
                  <a:pt x="1142" y="450"/>
                  <a:pt x="1186" y="403"/>
                  <a:pt x="1184" y="349"/>
                </a:cubicBezTo>
                <a:cubicBezTo>
                  <a:pt x="1183" y="302"/>
                  <a:pt x="1149" y="264"/>
                  <a:pt x="1105" y="255"/>
                </a:cubicBezTo>
                <a:close/>
              </a:path>
            </a:pathLst>
          </a:custGeom>
          <a:solidFill>
            <a:srgbClr val="DEE8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47" name="Freeform 41">
            <a:extLst>
              <a:ext uri="{FF2B5EF4-FFF2-40B4-BE49-F238E27FC236}">
                <a16:creationId xmlns:a16="http://schemas.microsoft.com/office/drawing/2014/main" id="{AB4900A7-B821-4B80-B2F8-A0110A1358DF}"/>
              </a:ext>
            </a:extLst>
          </p:cNvPr>
          <p:cNvSpPr>
            <a:spLocks/>
          </p:cNvSpPr>
          <p:nvPr/>
        </p:nvSpPr>
        <p:spPr bwMode="auto">
          <a:xfrm>
            <a:off x="4091092" y="1276670"/>
            <a:ext cx="1194437" cy="455553"/>
          </a:xfrm>
          <a:custGeom>
            <a:avLst/>
            <a:gdLst>
              <a:gd name="T0" fmla="*/ 811 w 871"/>
              <a:gd name="T1" fmla="*/ 187 h 331"/>
              <a:gd name="T2" fmla="*/ 788 w 871"/>
              <a:gd name="T3" fmla="*/ 173 h 331"/>
              <a:gd name="T4" fmla="*/ 715 w 871"/>
              <a:gd name="T5" fmla="*/ 140 h 331"/>
              <a:gd name="T6" fmla="*/ 657 w 871"/>
              <a:gd name="T7" fmla="*/ 160 h 331"/>
              <a:gd name="T8" fmla="*/ 643 w 871"/>
              <a:gd name="T9" fmla="*/ 158 h 331"/>
              <a:gd name="T10" fmla="*/ 510 w 871"/>
              <a:gd name="T11" fmla="*/ 57 h 331"/>
              <a:gd name="T12" fmla="*/ 504 w 871"/>
              <a:gd name="T13" fmla="*/ 57 h 331"/>
              <a:gd name="T14" fmla="*/ 473 w 871"/>
              <a:gd name="T15" fmla="*/ 46 h 331"/>
              <a:gd name="T16" fmla="*/ 359 w 871"/>
              <a:gd name="T17" fmla="*/ 0 h 331"/>
              <a:gd name="T18" fmla="*/ 232 w 871"/>
              <a:gd name="T19" fmla="*/ 60 h 331"/>
              <a:gd name="T20" fmla="*/ 199 w 871"/>
              <a:gd name="T21" fmla="*/ 75 h 331"/>
              <a:gd name="T22" fmla="*/ 198 w 871"/>
              <a:gd name="T23" fmla="*/ 75 h 331"/>
              <a:gd name="T24" fmla="*/ 93 w 871"/>
              <a:gd name="T25" fmla="*/ 130 h 331"/>
              <a:gd name="T26" fmla="*/ 71 w 871"/>
              <a:gd name="T27" fmla="*/ 146 h 331"/>
              <a:gd name="T28" fmla="*/ 5 w 871"/>
              <a:gd name="T29" fmla="*/ 246 h 331"/>
              <a:gd name="T30" fmla="*/ 90 w 871"/>
              <a:gd name="T31" fmla="*/ 330 h 331"/>
              <a:gd name="T32" fmla="*/ 119 w 871"/>
              <a:gd name="T33" fmla="*/ 329 h 331"/>
              <a:gd name="T34" fmla="*/ 170 w 871"/>
              <a:gd name="T35" fmla="*/ 328 h 331"/>
              <a:gd name="T36" fmla="*/ 198 w 871"/>
              <a:gd name="T37" fmla="*/ 331 h 331"/>
              <a:gd name="T38" fmla="*/ 242 w 871"/>
              <a:gd name="T39" fmla="*/ 323 h 331"/>
              <a:gd name="T40" fmla="*/ 308 w 871"/>
              <a:gd name="T41" fmla="*/ 323 h 331"/>
              <a:gd name="T42" fmla="*/ 359 w 871"/>
              <a:gd name="T43" fmla="*/ 331 h 331"/>
              <a:gd name="T44" fmla="*/ 407 w 871"/>
              <a:gd name="T45" fmla="*/ 324 h 331"/>
              <a:gd name="T46" fmla="*/ 470 w 871"/>
              <a:gd name="T47" fmla="*/ 325 h 331"/>
              <a:gd name="T48" fmla="*/ 510 w 871"/>
              <a:gd name="T49" fmla="*/ 331 h 331"/>
              <a:gd name="T50" fmla="*/ 548 w 871"/>
              <a:gd name="T51" fmla="*/ 325 h 331"/>
              <a:gd name="T52" fmla="*/ 611 w 871"/>
              <a:gd name="T53" fmla="*/ 326 h 331"/>
              <a:gd name="T54" fmla="*/ 638 w 871"/>
              <a:gd name="T55" fmla="*/ 331 h 331"/>
              <a:gd name="T56" fmla="*/ 655 w 871"/>
              <a:gd name="T57" fmla="*/ 329 h 331"/>
              <a:gd name="T58" fmla="*/ 697 w 871"/>
              <a:gd name="T59" fmla="*/ 329 h 331"/>
              <a:gd name="T60" fmla="*/ 715 w 871"/>
              <a:gd name="T61" fmla="*/ 331 h 331"/>
              <a:gd name="T62" fmla="*/ 735 w 871"/>
              <a:gd name="T63" fmla="*/ 329 h 331"/>
              <a:gd name="T64" fmla="*/ 780 w 871"/>
              <a:gd name="T65" fmla="*/ 329 h 331"/>
              <a:gd name="T66" fmla="*/ 798 w 871"/>
              <a:gd name="T67" fmla="*/ 331 h 331"/>
              <a:gd name="T68" fmla="*/ 869 w 871"/>
              <a:gd name="T69" fmla="*/ 256 h 331"/>
              <a:gd name="T70" fmla="*/ 811 w 871"/>
              <a:gd name="T71" fmla="*/ 18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71" h="331">
                <a:moveTo>
                  <a:pt x="811" y="187"/>
                </a:moveTo>
                <a:cubicBezTo>
                  <a:pt x="802" y="186"/>
                  <a:pt x="794" y="180"/>
                  <a:pt x="788" y="173"/>
                </a:cubicBezTo>
                <a:cubicBezTo>
                  <a:pt x="770" y="153"/>
                  <a:pt x="744" y="140"/>
                  <a:pt x="715" y="140"/>
                </a:cubicBezTo>
                <a:cubicBezTo>
                  <a:pt x="694" y="140"/>
                  <a:pt x="673" y="147"/>
                  <a:pt x="657" y="160"/>
                </a:cubicBezTo>
                <a:cubicBezTo>
                  <a:pt x="652" y="159"/>
                  <a:pt x="648" y="158"/>
                  <a:pt x="643" y="158"/>
                </a:cubicBezTo>
                <a:cubicBezTo>
                  <a:pt x="627" y="100"/>
                  <a:pt x="574" y="57"/>
                  <a:pt x="510" y="57"/>
                </a:cubicBezTo>
                <a:cubicBezTo>
                  <a:pt x="508" y="57"/>
                  <a:pt x="506" y="57"/>
                  <a:pt x="504" y="57"/>
                </a:cubicBezTo>
                <a:cubicBezTo>
                  <a:pt x="493" y="57"/>
                  <a:pt x="481" y="54"/>
                  <a:pt x="473" y="46"/>
                </a:cubicBezTo>
                <a:cubicBezTo>
                  <a:pt x="443" y="18"/>
                  <a:pt x="403" y="0"/>
                  <a:pt x="359" y="0"/>
                </a:cubicBezTo>
                <a:cubicBezTo>
                  <a:pt x="308" y="0"/>
                  <a:pt x="263" y="23"/>
                  <a:pt x="232" y="60"/>
                </a:cubicBezTo>
                <a:cubicBezTo>
                  <a:pt x="224" y="70"/>
                  <a:pt x="212" y="76"/>
                  <a:pt x="199" y="75"/>
                </a:cubicBezTo>
                <a:cubicBezTo>
                  <a:pt x="198" y="75"/>
                  <a:pt x="198" y="75"/>
                  <a:pt x="198" y="75"/>
                </a:cubicBezTo>
                <a:cubicBezTo>
                  <a:pt x="155" y="75"/>
                  <a:pt x="116" y="97"/>
                  <a:pt x="93" y="130"/>
                </a:cubicBezTo>
                <a:cubicBezTo>
                  <a:pt x="88" y="138"/>
                  <a:pt x="80" y="143"/>
                  <a:pt x="71" y="146"/>
                </a:cubicBezTo>
                <a:cubicBezTo>
                  <a:pt x="30" y="159"/>
                  <a:pt x="0" y="199"/>
                  <a:pt x="5" y="246"/>
                </a:cubicBezTo>
                <a:cubicBezTo>
                  <a:pt x="9" y="291"/>
                  <a:pt x="46" y="326"/>
                  <a:pt x="90" y="330"/>
                </a:cubicBezTo>
                <a:cubicBezTo>
                  <a:pt x="100" y="331"/>
                  <a:pt x="110" y="331"/>
                  <a:pt x="119" y="329"/>
                </a:cubicBezTo>
                <a:cubicBezTo>
                  <a:pt x="136" y="325"/>
                  <a:pt x="153" y="324"/>
                  <a:pt x="170" y="328"/>
                </a:cubicBezTo>
                <a:cubicBezTo>
                  <a:pt x="179" y="330"/>
                  <a:pt x="188" y="331"/>
                  <a:pt x="198" y="331"/>
                </a:cubicBezTo>
                <a:cubicBezTo>
                  <a:pt x="213" y="331"/>
                  <a:pt x="228" y="328"/>
                  <a:pt x="242" y="323"/>
                </a:cubicBezTo>
                <a:cubicBezTo>
                  <a:pt x="263" y="315"/>
                  <a:pt x="287" y="316"/>
                  <a:pt x="308" y="323"/>
                </a:cubicBezTo>
                <a:cubicBezTo>
                  <a:pt x="324" y="328"/>
                  <a:pt x="342" y="331"/>
                  <a:pt x="359" y="331"/>
                </a:cubicBezTo>
                <a:cubicBezTo>
                  <a:pt x="376" y="331"/>
                  <a:pt x="392" y="328"/>
                  <a:pt x="407" y="324"/>
                </a:cubicBezTo>
                <a:cubicBezTo>
                  <a:pt x="427" y="318"/>
                  <a:pt x="450" y="318"/>
                  <a:pt x="470" y="325"/>
                </a:cubicBezTo>
                <a:cubicBezTo>
                  <a:pt x="483" y="329"/>
                  <a:pt x="497" y="331"/>
                  <a:pt x="510" y="331"/>
                </a:cubicBezTo>
                <a:cubicBezTo>
                  <a:pt x="524" y="331"/>
                  <a:pt x="536" y="329"/>
                  <a:pt x="548" y="325"/>
                </a:cubicBezTo>
                <a:cubicBezTo>
                  <a:pt x="569" y="319"/>
                  <a:pt x="591" y="320"/>
                  <a:pt x="611" y="326"/>
                </a:cubicBezTo>
                <a:cubicBezTo>
                  <a:pt x="620" y="329"/>
                  <a:pt x="629" y="331"/>
                  <a:pt x="638" y="331"/>
                </a:cubicBezTo>
                <a:cubicBezTo>
                  <a:pt x="644" y="331"/>
                  <a:pt x="650" y="330"/>
                  <a:pt x="655" y="329"/>
                </a:cubicBezTo>
                <a:cubicBezTo>
                  <a:pt x="669" y="326"/>
                  <a:pt x="683" y="326"/>
                  <a:pt x="697" y="329"/>
                </a:cubicBezTo>
                <a:cubicBezTo>
                  <a:pt x="703" y="330"/>
                  <a:pt x="709" y="331"/>
                  <a:pt x="715" y="331"/>
                </a:cubicBezTo>
                <a:cubicBezTo>
                  <a:pt x="722" y="331"/>
                  <a:pt x="728" y="330"/>
                  <a:pt x="735" y="329"/>
                </a:cubicBezTo>
                <a:cubicBezTo>
                  <a:pt x="750" y="326"/>
                  <a:pt x="765" y="325"/>
                  <a:pt x="780" y="329"/>
                </a:cubicBezTo>
                <a:cubicBezTo>
                  <a:pt x="786" y="330"/>
                  <a:pt x="792" y="331"/>
                  <a:pt x="798" y="331"/>
                </a:cubicBezTo>
                <a:cubicBezTo>
                  <a:pt x="838" y="330"/>
                  <a:pt x="871" y="296"/>
                  <a:pt x="869" y="256"/>
                </a:cubicBezTo>
                <a:cubicBezTo>
                  <a:pt x="868" y="222"/>
                  <a:pt x="844" y="194"/>
                  <a:pt x="811" y="187"/>
                </a:cubicBezTo>
                <a:close/>
              </a:path>
            </a:pathLst>
          </a:custGeom>
          <a:solidFill>
            <a:srgbClr val="FFFFFF"/>
          </a:solidFill>
          <a:ln>
            <a:noFill/>
          </a:ln>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48" name="Freeform 42">
            <a:extLst>
              <a:ext uri="{FF2B5EF4-FFF2-40B4-BE49-F238E27FC236}">
                <a16:creationId xmlns:a16="http://schemas.microsoft.com/office/drawing/2014/main" id="{2A783426-D38A-4A9B-9039-E39D09D3454B}"/>
              </a:ext>
            </a:extLst>
          </p:cNvPr>
          <p:cNvSpPr>
            <a:spLocks/>
          </p:cNvSpPr>
          <p:nvPr/>
        </p:nvSpPr>
        <p:spPr bwMode="auto">
          <a:xfrm>
            <a:off x="2974233" y="1723097"/>
            <a:ext cx="807139" cy="306348"/>
          </a:xfrm>
          <a:custGeom>
            <a:avLst/>
            <a:gdLst>
              <a:gd name="T0" fmla="*/ 549 w 589"/>
              <a:gd name="T1" fmla="*/ 126 h 223"/>
              <a:gd name="T2" fmla="*/ 533 w 589"/>
              <a:gd name="T3" fmla="*/ 116 h 223"/>
              <a:gd name="T4" fmla="*/ 484 w 589"/>
              <a:gd name="T5" fmla="*/ 94 h 223"/>
              <a:gd name="T6" fmla="*/ 444 w 589"/>
              <a:gd name="T7" fmla="*/ 107 h 223"/>
              <a:gd name="T8" fmla="*/ 434 w 589"/>
              <a:gd name="T9" fmla="*/ 106 h 223"/>
              <a:gd name="T10" fmla="*/ 345 w 589"/>
              <a:gd name="T11" fmla="*/ 38 h 223"/>
              <a:gd name="T12" fmla="*/ 341 w 589"/>
              <a:gd name="T13" fmla="*/ 38 h 223"/>
              <a:gd name="T14" fmla="*/ 320 w 589"/>
              <a:gd name="T15" fmla="*/ 30 h 223"/>
              <a:gd name="T16" fmla="*/ 243 w 589"/>
              <a:gd name="T17" fmla="*/ 0 h 223"/>
              <a:gd name="T18" fmla="*/ 157 w 589"/>
              <a:gd name="T19" fmla="*/ 40 h 223"/>
              <a:gd name="T20" fmla="*/ 134 w 589"/>
              <a:gd name="T21" fmla="*/ 50 h 223"/>
              <a:gd name="T22" fmla="*/ 134 w 589"/>
              <a:gd name="T23" fmla="*/ 50 h 223"/>
              <a:gd name="T24" fmla="*/ 63 w 589"/>
              <a:gd name="T25" fmla="*/ 87 h 223"/>
              <a:gd name="T26" fmla="*/ 48 w 589"/>
              <a:gd name="T27" fmla="*/ 98 h 223"/>
              <a:gd name="T28" fmla="*/ 4 w 589"/>
              <a:gd name="T29" fmla="*/ 166 h 223"/>
              <a:gd name="T30" fmla="*/ 61 w 589"/>
              <a:gd name="T31" fmla="*/ 223 h 223"/>
              <a:gd name="T32" fmla="*/ 81 w 589"/>
              <a:gd name="T33" fmla="*/ 221 h 223"/>
              <a:gd name="T34" fmla="*/ 115 w 589"/>
              <a:gd name="T35" fmla="*/ 221 h 223"/>
              <a:gd name="T36" fmla="*/ 134 w 589"/>
              <a:gd name="T37" fmla="*/ 223 h 223"/>
              <a:gd name="T38" fmla="*/ 164 w 589"/>
              <a:gd name="T39" fmla="*/ 218 h 223"/>
              <a:gd name="T40" fmla="*/ 209 w 589"/>
              <a:gd name="T41" fmla="*/ 217 h 223"/>
              <a:gd name="T42" fmla="*/ 243 w 589"/>
              <a:gd name="T43" fmla="*/ 223 h 223"/>
              <a:gd name="T44" fmla="*/ 275 w 589"/>
              <a:gd name="T45" fmla="*/ 218 h 223"/>
              <a:gd name="T46" fmla="*/ 318 w 589"/>
              <a:gd name="T47" fmla="*/ 219 h 223"/>
              <a:gd name="T48" fmla="*/ 345 w 589"/>
              <a:gd name="T49" fmla="*/ 223 h 223"/>
              <a:gd name="T50" fmla="*/ 371 w 589"/>
              <a:gd name="T51" fmla="*/ 219 h 223"/>
              <a:gd name="T52" fmla="*/ 413 w 589"/>
              <a:gd name="T53" fmla="*/ 220 h 223"/>
              <a:gd name="T54" fmla="*/ 431 w 589"/>
              <a:gd name="T55" fmla="*/ 223 h 223"/>
              <a:gd name="T56" fmla="*/ 443 w 589"/>
              <a:gd name="T57" fmla="*/ 222 h 223"/>
              <a:gd name="T58" fmla="*/ 471 w 589"/>
              <a:gd name="T59" fmla="*/ 222 h 223"/>
              <a:gd name="T60" fmla="*/ 484 w 589"/>
              <a:gd name="T61" fmla="*/ 223 h 223"/>
              <a:gd name="T62" fmla="*/ 497 w 589"/>
              <a:gd name="T63" fmla="*/ 222 h 223"/>
              <a:gd name="T64" fmla="*/ 528 w 589"/>
              <a:gd name="T65" fmla="*/ 222 h 223"/>
              <a:gd name="T66" fmla="*/ 539 w 589"/>
              <a:gd name="T67" fmla="*/ 223 h 223"/>
              <a:gd name="T68" fmla="*/ 588 w 589"/>
              <a:gd name="T69" fmla="*/ 172 h 223"/>
              <a:gd name="T70" fmla="*/ 549 w 589"/>
              <a:gd name="T71" fmla="*/ 12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9" h="223">
                <a:moveTo>
                  <a:pt x="549" y="126"/>
                </a:moveTo>
                <a:cubicBezTo>
                  <a:pt x="542" y="125"/>
                  <a:pt x="537" y="121"/>
                  <a:pt x="533" y="116"/>
                </a:cubicBezTo>
                <a:cubicBezTo>
                  <a:pt x="521" y="103"/>
                  <a:pt x="503" y="94"/>
                  <a:pt x="484" y="94"/>
                </a:cubicBezTo>
                <a:cubicBezTo>
                  <a:pt x="469" y="94"/>
                  <a:pt x="455" y="99"/>
                  <a:pt x="444" y="107"/>
                </a:cubicBezTo>
                <a:cubicBezTo>
                  <a:pt x="441" y="107"/>
                  <a:pt x="438" y="106"/>
                  <a:pt x="434" y="106"/>
                </a:cubicBezTo>
                <a:cubicBezTo>
                  <a:pt x="424" y="67"/>
                  <a:pt x="388" y="38"/>
                  <a:pt x="345" y="38"/>
                </a:cubicBezTo>
                <a:cubicBezTo>
                  <a:pt x="344" y="38"/>
                  <a:pt x="342" y="38"/>
                  <a:pt x="341" y="38"/>
                </a:cubicBezTo>
                <a:cubicBezTo>
                  <a:pt x="333" y="38"/>
                  <a:pt x="325" y="36"/>
                  <a:pt x="320" y="30"/>
                </a:cubicBezTo>
                <a:cubicBezTo>
                  <a:pt x="300" y="11"/>
                  <a:pt x="273" y="0"/>
                  <a:pt x="243" y="0"/>
                </a:cubicBezTo>
                <a:cubicBezTo>
                  <a:pt x="209" y="0"/>
                  <a:pt x="178" y="15"/>
                  <a:pt x="157" y="40"/>
                </a:cubicBezTo>
                <a:cubicBezTo>
                  <a:pt x="152" y="47"/>
                  <a:pt x="143" y="50"/>
                  <a:pt x="134" y="50"/>
                </a:cubicBezTo>
                <a:cubicBezTo>
                  <a:pt x="134" y="50"/>
                  <a:pt x="134" y="50"/>
                  <a:pt x="134" y="50"/>
                </a:cubicBezTo>
                <a:cubicBezTo>
                  <a:pt x="105" y="50"/>
                  <a:pt x="79" y="65"/>
                  <a:pt x="63" y="87"/>
                </a:cubicBezTo>
                <a:cubicBezTo>
                  <a:pt x="60" y="93"/>
                  <a:pt x="54" y="96"/>
                  <a:pt x="48" y="98"/>
                </a:cubicBezTo>
                <a:cubicBezTo>
                  <a:pt x="20" y="107"/>
                  <a:pt x="0" y="134"/>
                  <a:pt x="4" y="166"/>
                </a:cubicBezTo>
                <a:cubicBezTo>
                  <a:pt x="7" y="196"/>
                  <a:pt x="31" y="220"/>
                  <a:pt x="61" y="223"/>
                </a:cubicBezTo>
                <a:cubicBezTo>
                  <a:pt x="68" y="223"/>
                  <a:pt x="75" y="223"/>
                  <a:pt x="81" y="221"/>
                </a:cubicBezTo>
                <a:cubicBezTo>
                  <a:pt x="92" y="219"/>
                  <a:pt x="104" y="218"/>
                  <a:pt x="115" y="221"/>
                </a:cubicBezTo>
                <a:cubicBezTo>
                  <a:pt x="121" y="222"/>
                  <a:pt x="128" y="223"/>
                  <a:pt x="134" y="223"/>
                </a:cubicBezTo>
                <a:cubicBezTo>
                  <a:pt x="144" y="223"/>
                  <a:pt x="154" y="221"/>
                  <a:pt x="164" y="218"/>
                </a:cubicBezTo>
                <a:cubicBezTo>
                  <a:pt x="178" y="212"/>
                  <a:pt x="194" y="213"/>
                  <a:pt x="209" y="217"/>
                </a:cubicBezTo>
                <a:cubicBezTo>
                  <a:pt x="219" y="221"/>
                  <a:pt x="231" y="223"/>
                  <a:pt x="243" y="223"/>
                </a:cubicBezTo>
                <a:cubicBezTo>
                  <a:pt x="254" y="223"/>
                  <a:pt x="265" y="221"/>
                  <a:pt x="275" y="218"/>
                </a:cubicBezTo>
                <a:cubicBezTo>
                  <a:pt x="289" y="214"/>
                  <a:pt x="304" y="215"/>
                  <a:pt x="318" y="219"/>
                </a:cubicBezTo>
                <a:cubicBezTo>
                  <a:pt x="327" y="221"/>
                  <a:pt x="336" y="223"/>
                  <a:pt x="345" y="223"/>
                </a:cubicBezTo>
                <a:cubicBezTo>
                  <a:pt x="354" y="223"/>
                  <a:pt x="363" y="222"/>
                  <a:pt x="371" y="219"/>
                </a:cubicBezTo>
                <a:cubicBezTo>
                  <a:pt x="385" y="215"/>
                  <a:pt x="399" y="215"/>
                  <a:pt x="413" y="220"/>
                </a:cubicBezTo>
                <a:cubicBezTo>
                  <a:pt x="419" y="222"/>
                  <a:pt x="425" y="223"/>
                  <a:pt x="431" y="223"/>
                </a:cubicBezTo>
                <a:cubicBezTo>
                  <a:pt x="435" y="223"/>
                  <a:pt x="439" y="222"/>
                  <a:pt x="443" y="222"/>
                </a:cubicBezTo>
                <a:cubicBezTo>
                  <a:pt x="452" y="220"/>
                  <a:pt x="462" y="220"/>
                  <a:pt x="471" y="222"/>
                </a:cubicBezTo>
                <a:cubicBezTo>
                  <a:pt x="475" y="222"/>
                  <a:pt x="479" y="223"/>
                  <a:pt x="484" y="223"/>
                </a:cubicBezTo>
                <a:cubicBezTo>
                  <a:pt x="488" y="223"/>
                  <a:pt x="492" y="222"/>
                  <a:pt x="497" y="222"/>
                </a:cubicBezTo>
                <a:cubicBezTo>
                  <a:pt x="507" y="219"/>
                  <a:pt x="517" y="219"/>
                  <a:pt x="528" y="222"/>
                </a:cubicBezTo>
                <a:cubicBezTo>
                  <a:pt x="531" y="222"/>
                  <a:pt x="535" y="223"/>
                  <a:pt x="539" y="223"/>
                </a:cubicBezTo>
                <a:cubicBezTo>
                  <a:pt x="567" y="223"/>
                  <a:pt x="589" y="199"/>
                  <a:pt x="588" y="172"/>
                </a:cubicBezTo>
                <a:cubicBezTo>
                  <a:pt x="587" y="149"/>
                  <a:pt x="570" y="130"/>
                  <a:pt x="549" y="126"/>
                </a:cubicBezTo>
                <a:close/>
              </a:path>
            </a:pathLst>
          </a:custGeom>
          <a:solidFill>
            <a:srgbClr val="FFFFFF"/>
          </a:solidFill>
          <a:ln>
            <a:noFill/>
          </a:ln>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49" name="Freeform 43">
            <a:extLst>
              <a:ext uri="{FF2B5EF4-FFF2-40B4-BE49-F238E27FC236}">
                <a16:creationId xmlns:a16="http://schemas.microsoft.com/office/drawing/2014/main" id="{E3AF80AD-EE8E-4032-A85B-64507AC6AABC}"/>
              </a:ext>
            </a:extLst>
          </p:cNvPr>
          <p:cNvSpPr>
            <a:spLocks/>
          </p:cNvSpPr>
          <p:nvPr/>
        </p:nvSpPr>
        <p:spPr bwMode="auto">
          <a:xfrm>
            <a:off x="7445665" y="1716031"/>
            <a:ext cx="1088883" cy="415077"/>
          </a:xfrm>
          <a:custGeom>
            <a:avLst/>
            <a:gdLst>
              <a:gd name="T0" fmla="*/ 740 w 794"/>
              <a:gd name="T1" fmla="*/ 171 h 302"/>
              <a:gd name="T2" fmla="*/ 719 w 794"/>
              <a:gd name="T3" fmla="*/ 157 h 302"/>
              <a:gd name="T4" fmla="*/ 653 w 794"/>
              <a:gd name="T5" fmla="*/ 127 h 302"/>
              <a:gd name="T6" fmla="*/ 599 w 794"/>
              <a:gd name="T7" fmla="*/ 145 h 302"/>
              <a:gd name="T8" fmla="*/ 586 w 794"/>
              <a:gd name="T9" fmla="*/ 143 h 302"/>
              <a:gd name="T10" fmla="*/ 466 w 794"/>
              <a:gd name="T11" fmla="*/ 51 h 302"/>
              <a:gd name="T12" fmla="*/ 460 w 794"/>
              <a:gd name="T13" fmla="*/ 52 h 302"/>
              <a:gd name="T14" fmla="*/ 431 w 794"/>
              <a:gd name="T15" fmla="*/ 41 h 302"/>
              <a:gd name="T16" fmla="*/ 328 w 794"/>
              <a:gd name="T17" fmla="*/ 0 h 302"/>
              <a:gd name="T18" fmla="*/ 212 w 794"/>
              <a:gd name="T19" fmla="*/ 54 h 302"/>
              <a:gd name="T20" fmla="*/ 181 w 794"/>
              <a:gd name="T21" fmla="*/ 68 h 302"/>
              <a:gd name="T22" fmla="*/ 180 w 794"/>
              <a:gd name="T23" fmla="*/ 68 h 302"/>
              <a:gd name="T24" fmla="*/ 85 w 794"/>
              <a:gd name="T25" fmla="*/ 118 h 302"/>
              <a:gd name="T26" fmla="*/ 65 w 794"/>
              <a:gd name="T27" fmla="*/ 133 h 302"/>
              <a:gd name="T28" fmla="*/ 4 w 794"/>
              <a:gd name="T29" fmla="*/ 224 h 302"/>
              <a:gd name="T30" fmla="*/ 82 w 794"/>
              <a:gd name="T31" fmla="*/ 301 h 302"/>
              <a:gd name="T32" fmla="*/ 109 w 794"/>
              <a:gd name="T33" fmla="*/ 299 h 302"/>
              <a:gd name="T34" fmla="*/ 155 w 794"/>
              <a:gd name="T35" fmla="*/ 299 h 302"/>
              <a:gd name="T36" fmla="*/ 180 w 794"/>
              <a:gd name="T37" fmla="*/ 301 h 302"/>
              <a:gd name="T38" fmla="*/ 220 w 794"/>
              <a:gd name="T39" fmla="*/ 294 h 302"/>
              <a:gd name="T40" fmla="*/ 281 w 794"/>
              <a:gd name="T41" fmla="*/ 294 h 302"/>
              <a:gd name="T42" fmla="*/ 328 w 794"/>
              <a:gd name="T43" fmla="*/ 301 h 302"/>
              <a:gd name="T44" fmla="*/ 371 w 794"/>
              <a:gd name="T45" fmla="*/ 295 h 302"/>
              <a:gd name="T46" fmla="*/ 429 w 794"/>
              <a:gd name="T47" fmla="*/ 296 h 302"/>
              <a:gd name="T48" fmla="*/ 466 w 794"/>
              <a:gd name="T49" fmla="*/ 301 h 302"/>
              <a:gd name="T50" fmla="*/ 500 w 794"/>
              <a:gd name="T51" fmla="*/ 296 h 302"/>
              <a:gd name="T52" fmla="*/ 557 w 794"/>
              <a:gd name="T53" fmla="*/ 297 h 302"/>
              <a:gd name="T54" fmla="*/ 582 w 794"/>
              <a:gd name="T55" fmla="*/ 301 h 302"/>
              <a:gd name="T56" fmla="*/ 598 w 794"/>
              <a:gd name="T57" fmla="*/ 300 h 302"/>
              <a:gd name="T58" fmla="*/ 635 w 794"/>
              <a:gd name="T59" fmla="*/ 300 h 302"/>
              <a:gd name="T60" fmla="*/ 653 w 794"/>
              <a:gd name="T61" fmla="*/ 301 h 302"/>
              <a:gd name="T62" fmla="*/ 670 w 794"/>
              <a:gd name="T63" fmla="*/ 300 h 302"/>
              <a:gd name="T64" fmla="*/ 712 w 794"/>
              <a:gd name="T65" fmla="*/ 300 h 302"/>
              <a:gd name="T66" fmla="*/ 728 w 794"/>
              <a:gd name="T67" fmla="*/ 301 h 302"/>
              <a:gd name="T68" fmla="*/ 793 w 794"/>
              <a:gd name="T69" fmla="*/ 233 h 302"/>
              <a:gd name="T70" fmla="*/ 740 w 794"/>
              <a:gd name="T71" fmla="*/ 171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94" h="302">
                <a:moveTo>
                  <a:pt x="740" y="171"/>
                </a:moveTo>
                <a:cubicBezTo>
                  <a:pt x="732" y="169"/>
                  <a:pt x="724" y="164"/>
                  <a:pt x="719" y="157"/>
                </a:cubicBezTo>
                <a:cubicBezTo>
                  <a:pt x="703" y="139"/>
                  <a:pt x="679" y="127"/>
                  <a:pt x="653" y="127"/>
                </a:cubicBezTo>
                <a:cubicBezTo>
                  <a:pt x="633" y="127"/>
                  <a:pt x="614" y="134"/>
                  <a:pt x="599" y="145"/>
                </a:cubicBezTo>
                <a:cubicBezTo>
                  <a:pt x="595" y="144"/>
                  <a:pt x="591" y="144"/>
                  <a:pt x="586" y="143"/>
                </a:cubicBezTo>
                <a:cubicBezTo>
                  <a:pt x="572" y="90"/>
                  <a:pt x="523" y="51"/>
                  <a:pt x="466" y="51"/>
                </a:cubicBezTo>
                <a:cubicBezTo>
                  <a:pt x="464" y="51"/>
                  <a:pt x="462" y="51"/>
                  <a:pt x="460" y="52"/>
                </a:cubicBezTo>
                <a:cubicBezTo>
                  <a:pt x="449" y="52"/>
                  <a:pt x="439" y="49"/>
                  <a:pt x="431" y="41"/>
                </a:cubicBezTo>
                <a:cubicBezTo>
                  <a:pt x="404" y="16"/>
                  <a:pt x="368" y="0"/>
                  <a:pt x="328" y="0"/>
                </a:cubicBezTo>
                <a:cubicBezTo>
                  <a:pt x="281" y="0"/>
                  <a:pt x="239" y="21"/>
                  <a:pt x="212" y="54"/>
                </a:cubicBezTo>
                <a:cubicBezTo>
                  <a:pt x="204" y="63"/>
                  <a:pt x="193" y="69"/>
                  <a:pt x="181" y="68"/>
                </a:cubicBezTo>
                <a:cubicBezTo>
                  <a:pt x="181" y="68"/>
                  <a:pt x="181" y="68"/>
                  <a:pt x="180" y="68"/>
                </a:cubicBezTo>
                <a:cubicBezTo>
                  <a:pt x="141" y="68"/>
                  <a:pt x="106" y="88"/>
                  <a:pt x="85" y="118"/>
                </a:cubicBezTo>
                <a:cubicBezTo>
                  <a:pt x="80" y="125"/>
                  <a:pt x="73" y="130"/>
                  <a:pt x="65" y="133"/>
                </a:cubicBezTo>
                <a:cubicBezTo>
                  <a:pt x="27" y="144"/>
                  <a:pt x="0" y="181"/>
                  <a:pt x="4" y="224"/>
                </a:cubicBezTo>
                <a:cubicBezTo>
                  <a:pt x="8" y="265"/>
                  <a:pt x="41" y="297"/>
                  <a:pt x="82" y="301"/>
                </a:cubicBezTo>
                <a:cubicBezTo>
                  <a:pt x="91" y="302"/>
                  <a:pt x="100" y="301"/>
                  <a:pt x="109" y="299"/>
                </a:cubicBezTo>
                <a:cubicBezTo>
                  <a:pt x="124" y="296"/>
                  <a:pt x="140" y="295"/>
                  <a:pt x="155" y="299"/>
                </a:cubicBezTo>
                <a:cubicBezTo>
                  <a:pt x="163" y="300"/>
                  <a:pt x="172" y="301"/>
                  <a:pt x="180" y="301"/>
                </a:cubicBezTo>
                <a:cubicBezTo>
                  <a:pt x="194" y="301"/>
                  <a:pt x="208" y="299"/>
                  <a:pt x="220" y="294"/>
                </a:cubicBezTo>
                <a:cubicBezTo>
                  <a:pt x="240" y="287"/>
                  <a:pt x="261" y="288"/>
                  <a:pt x="281" y="294"/>
                </a:cubicBezTo>
                <a:cubicBezTo>
                  <a:pt x="296" y="299"/>
                  <a:pt x="311" y="301"/>
                  <a:pt x="328" y="301"/>
                </a:cubicBezTo>
                <a:cubicBezTo>
                  <a:pt x="343" y="301"/>
                  <a:pt x="357" y="299"/>
                  <a:pt x="371" y="295"/>
                </a:cubicBezTo>
                <a:cubicBezTo>
                  <a:pt x="390" y="289"/>
                  <a:pt x="410" y="290"/>
                  <a:pt x="429" y="296"/>
                </a:cubicBezTo>
                <a:cubicBezTo>
                  <a:pt x="441" y="299"/>
                  <a:pt x="453" y="301"/>
                  <a:pt x="466" y="301"/>
                </a:cubicBezTo>
                <a:cubicBezTo>
                  <a:pt x="478" y="301"/>
                  <a:pt x="489" y="300"/>
                  <a:pt x="500" y="296"/>
                </a:cubicBezTo>
                <a:cubicBezTo>
                  <a:pt x="519" y="291"/>
                  <a:pt x="539" y="291"/>
                  <a:pt x="557" y="297"/>
                </a:cubicBezTo>
                <a:cubicBezTo>
                  <a:pt x="565" y="300"/>
                  <a:pt x="573" y="301"/>
                  <a:pt x="582" y="301"/>
                </a:cubicBezTo>
                <a:cubicBezTo>
                  <a:pt x="587" y="301"/>
                  <a:pt x="593" y="301"/>
                  <a:pt x="598" y="300"/>
                </a:cubicBezTo>
                <a:cubicBezTo>
                  <a:pt x="610" y="297"/>
                  <a:pt x="623" y="297"/>
                  <a:pt x="635" y="300"/>
                </a:cubicBezTo>
                <a:cubicBezTo>
                  <a:pt x="641" y="301"/>
                  <a:pt x="647" y="301"/>
                  <a:pt x="653" y="301"/>
                </a:cubicBezTo>
                <a:cubicBezTo>
                  <a:pt x="659" y="301"/>
                  <a:pt x="664" y="301"/>
                  <a:pt x="670" y="300"/>
                </a:cubicBezTo>
                <a:cubicBezTo>
                  <a:pt x="684" y="297"/>
                  <a:pt x="698" y="296"/>
                  <a:pt x="712" y="300"/>
                </a:cubicBezTo>
                <a:cubicBezTo>
                  <a:pt x="717" y="301"/>
                  <a:pt x="722" y="301"/>
                  <a:pt x="728" y="301"/>
                </a:cubicBezTo>
                <a:cubicBezTo>
                  <a:pt x="765" y="301"/>
                  <a:pt x="794" y="270"/>
                  <a:pt x="793" y="233"/>
                </a:cubicBezTo>
                <a:cubicBezTo>
                  <a:pt x="792" y="202"/>
                  <a:pt x="770" y="177"/>
                  <a:pt x="740" y="171"/>
                </a:cubicBezTo>
                <a:close/>
              </a:path>
            </a:pathLst>
          </a:custGeom>
          <a:solidFill>
            <a:srgbClr val="FFFFFF"/>
          </a:solidFill>
          <a:ln>
            <a:noFill/>
          </a:ln>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50" name="Freeform 44">
            <a:extLst>
              <a:ext uri="{FF2B5EF4-FFF2-40B4-BE49-F238E27FC236}">
                <a16:creationId xmlns:a16="http://schemas.microsoft.com/office/drawing/2014/main" id="{3538031A-D5EF-4794-B1AF-BADE5640E7B6}"/>
              </a:ext>
            </a:extLst>
          </p:cNvPr>
          <p:cNvSpPr>
            <a:spLocks/>
          </p:cNvSpPr>
          <p:nvPr/>
        </p:nvSpPr>
        <p:spPr bwMode="auto">
          <a:xfrm>
            <a:off x="5978213" y="1177940"/>
            <a:ext cx="1003963" cy="382537"/>
          </a:xfrm>
          <a:custGeom>
            <a:avLst/>
            <a:gdLst>
              <a:gd name="T0" fmla="*/ 682 w 732"/>
              <a:gd name="T1" fmla="*/ 157 h 278"/>
              <a:gd name="T2" fmla="*/ 662 w 732"/>
              <a:gd name="T3" fmla="*/ 145 h 278"/>
              <a:gd name="T4" fmla="*/ 601 w 732"/>
              <a:gd name="T5" fmla="*/ 117 h 278"/>
              <a:gd name="T6" fmla="*/ 552 w 732"/>
              <a:gd name="T7" fmla="*/ 134 h 278"/>
              <a:gd name="T8" fmla="*/ 540 w 732"/>
              <a:gd name="T9" fmla="*/ 132 h 278"/>
              <a:gd name="T10" fmla="*/ 429 w 732"/>
              <a:gd name="T11" fmla="*/ 48 h 278"/>
              <a:gd name="T12" fmla="*/ 424 w 732"/>
              <a:gd name="T13" fmla="*/ 48 h 278"/>
              <a:gd name="T14" fmla="*/ 397 w 732"/>
              <a:gd name="T15" fmla="*/ 38 h 278"/>
              <a:gd name="T16" fmla="*/ 302 w 732"/>
              <a:gd name="T17" fmla="*/ 0 h 278"/>
              <a:gd name="T18" fmla="*/ 195 w 732"/>
              <a:gd name="T19" fmla="*/ 50 h 278"/>
              <a:gd name="T20" fmla="*/ 167 w 732"/>
              <a:gd name="T21" fmla="*/ 63 h 278"/>
              <a:gd name="T22" fmla="*/ 166 w 732"/>
              <a:gd name="T23" fmla="*/ 63 h 278"/>
              <a:gd name="T24" fmla="*/ 78 w 732"/>
              <a:gd name="T25" fmla="*/ 109 h 278"/>
              <a:gd name="T26" fmla="*/ 60 w 732"/>
              <a:gd name="T27" fmla="*/ 123 h 278"/>
              <a:gd name="T28" fmla="*/ 4 w 732"/>
              <a:gd name="T29" fmla="*/ 207 h 278"/>
              <a:gd name="T30" fmla="*/ 76 w 732"/>
              <a:gd name="T31" fmla="*/ 278 h 278"/>
              <a:gd name="T32" fmla="*/ 100 w 732"/>
              <a:gd name="T33" fmla="*/ 276 h 278"/>
              <a:gd name="T34" fmla="*/ 143 w 732"/>
              <a:gd name="T35" fmla="*/ 275 h 278"/>
              <a:gd name="T36" fmla="*/ 166 w 732"/>
              <a:gd name="T37" fmla="*/ 278 h 278"/>
              <a:gd name="T38" fmla="*/ 203 w 732"/>
              <a:gd name="T39" fmla="*/ 271 h 278"/>
              <a:gd name="T40" fmla="*/ 259 w 732"/>
              <a:gd name="T41" fmla="*/ 271 h 278"/>
              <a:gd name="T42" fmla="*/ 302 w 732"/>
              <a:gd name="T43" fmla="*/ 278 h 278"/>
              <a:gd name="T44" fmla="*/ 342 w 732"/>
              <a:gd name="T45" fmla="*/ 272 h 278"/>
              <a:gd name="T46" fmla="*/ 395 w 732"/>
              <a:gd name="T47" fmla="*/ 273 h 278"/>
              <a:gd name="T48" fmla="*/ 429 w 732"/>
              <a:gd name="T49" fmla="*/ 278 h 278"/>
              <a:gd name="T50" fmla="*/ 461 w 732"/>
              <a:gd name="T51" fmla="*/ 273 h 278"/>
              <a:gd name="T52" fmla="*/ 514 w 732"/>
              <a:gd name="T53" fmla="*/ 274 h 278"/>
              <a:gd name="T54" fmla="*/ 536 w 732"/>
              <a:gd name="T55" fmla="*/ 278 h 278"/>
              <a:gd name="T56" fmla="*/ 551 w 732"/>
              <a:gd name="T57" fmla="*/ 276 h 278"/>
              <a:gd name="T58" fmla="*/ 585 w 732"/>
              <a:gd name="T59" fmla="*/ 276 h 278"/>
              <a:gd name="T60" fmla="*/ 601 w 732"/>
              <a:gd name="T61" fmla="*/ 278 h 278"/>
              <a:gd name="T62" fmla="*/ 617 w 732"/>
              <a:gd name="T63" fmla="*/ 276 h 278"/>
              <a:gd name="T64" fmla="*/ 656 w 732"/>
              <a:gd name="T65" fmla="*/ 276 h 278"/>
              <a:gd name="T66" fmla="*/ 670 w 732"/>
              <a:gd name="T67" fmla="*/ 278 h 278"/>
              <a:gd name="T68" fmla="*/ 730 w 732"/>
              <a:gd name="T69" fmla="*/ 215 h 278"/>
              <a:gd name="T70" fmla="*/ 682 w 732"/>
              <a:gd name="T71" fmla="*/ 15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32" h="278">
                <a:moveTo>
                  <a:pt x="682" y="157"/>
                </a:moveTo>
                <a:cubicBezTo>
                  <a:pt x="674" y="156"/>
                  <a:pt x="667" y="151"/>
                  <a:pt x="662" y="145"/>
                </a:cubicBezTo>
                <a:cubicBezTo>
                  <a:pt x="647" y="128"/>
                  <a:pt x="625" y="117"/>
                  <a:pt x="601" y="117"/>
                </a:cubicBezTo>
                <a:cubicBezTo>
                  <a:pt x="583" y="117"/>
                  <a:pt x="566" y="124"/>
                  <a:pt x="552" y="134"/>
                </a:cubicBezTo>
                <a:cubicBezTo>
                  <a:pt x="548" y="133"/>
                  <a:pt x="544" y="133"/>
                  <a:pt x="540" y="132"/>
                </a:cubicBezTo>
                <a:cubicBezTo>
                  <a:pt x="527" y="84"/>
                  <a:pt x="482" y="48"/>
                  <a:pt x="429" y="48"/>
                </a:cubicBezTo>
                <a:cubicBezTo>
                  <a:pt x="427" y="48"/>
                  <a:pt x="426" y="48"/>
                  <a:pt x="424" y="48"/>
                </a:cubicBezTo>
                <a:cubicBezTo>
                  <a:pt x="414" y="48"/>
                  <a:pt x="405" y="45"/>
                  <a:pt x="397" y="38"/>
                </a:cubicBezTo>
                <a:cubicBezTo>
                  <a:pt x="373" y="15"/>
                  <a:pt x="339" y="0"/>
                  <a:pt x="302" y="0"/>
                </a:cubicBezTo>
                <a:cubicBezTo>
                  <a:pt x="259" y="0"/>
                  <a:pt x="221" y="20"/>
                  <a:pt x="195" y="50"/>
                </a:cubicBezTo>
                <a:cubicBezTo>
                  <a:pt x="188" y="59"/>
                  <a:pt x="178" y="63"/>
                  <a:pt x="167" y="63"/>
                </a:cubicBezTo>
                <a:cubicBezTo>
                  <a:pt x="167" y="63"/>
                  <a:pt x="167" y="63"/>
                  <a:pt x="166" y="63"/>
                </a:cubicBezTo>
                <a:cubicBezTo>
                  <a:pt x="130" y="63"/>
                  <a:pt x="98" y="82"/>
                  <a:pt x="78" y="109"/>
                </a:cubicBezTo>
                <a:cubicBezTo>
                  <a:pt x="74" y="116"/>
                  <a:pt x="67" y="120"/>
                  <a:pt x="60" y="123"/>
                </a:cubicBezTo>
                <a:cubicBezTo>
                  <a:pt x="25" y="133"/>
                  <a:pt x="0" y="167"/>
                  <a:pt x="4" y="207"/>
                </a:cubicBezTo>
                <a:cubicBezTo>
                  <a:pt x="8" y="244"/>
                  <a:pt x="39" y="274"/>
                  <a:pt x="76" y="278"/>
                </a:cubicBezTo>
                <a:cubicBezTo>
                  <a:pt x="84" y="278"/>
                  <a:pt x="93" y="278"/>
                  <a:pt x="100" y="276"/>
                </a:cubicBezTo>
                <a:cubicBezTo>
                  <a:pt x="114" y="273"/>
                  <a:pt x="129" y="272"/>
                  <a:pt x="143" y="275"/>
                </a:cubicBezTo>
                <a:cubicBezTo>
                  <a:pt x="151" y="277"/>
                  <a:pt x="158" y="278"/>
                  <a:pt x="166" y="278"/>
                </a:cubicBezTo>
                <a:cubicBezTo>
                  <a:pt x="179" y="278"/>
                  <a:pt x="192" y="276"/>
                  <a:pt x="203" y="271"/>
                </a:cubicBezTo>
                <a:cubicBezTo>
                  <a:pt x="221" y="265"/>
                  <a:pt x="241" y="265"/>
                  <a:pt x="259" y="271"/>
                </a:cubicBezTo>
                <a:cubicBezTo>
                  <a:pt x="273" y="275"/>
                  <a:pt x="287" y="278"/>
                  <a:pt x="302" y="278"/>
                </a:cubicBezTo>
                <a:cubicBezTo>
                  <a:pt x="316" y="278"/>
                  <a:pt x="329" y="276"/>
                  <a:pt x="342" y="272"/>
                </a:cubicBezTo>
                <a:cubicBezTo>
                  <a:pt x="359" y="267"/>
                  <a:pt x="378" y="268"/>
                  <a:pt x="395" y="273"/>
                </a:cubicBezTo>
                <a:cubicBezTo>
                  <a:pt x="406" y="276"/>
                  <a:pt x="417" y="278"/>
                  <a:pt x="429" y="278"/>
                </a:cubicBezTo>
                <a:cubicBezTo>
                  <a:pt x="440" y="278"/>
                  <a:pt x="451" y="276"/>
                  <a:pt x="461" y="273"/>
                </a:cubicBezTo>
                <a:cubicBezTo>
                  <a:pt x="478" y="268"/>
                  <a:pt x="496" y="269"/>
                  <a:pt x="514" y="274"/>
                </a:cubicBezTo>
                <a:cubicBezTo>
                  <a:pt x="521" y="277"/>
                  <a:pt x="528" y="278"/>
                  <a:pt x="536" y="278"/>
                </a:cubicBezTo>
                <a:cubicBezTo>
                  <a:pt x="541" y="278"/>
                  <a:pt x="546" y="277"/>
                  <a:pt x="551" y="276"/>
                </a:cubicBezTo>
                <a:cubicBezTo>
                  <a:pt x="562" y="274"/>
                  <a:pt x="574" y="274"/>
                  <a:pt x="585" y="276"/>
                </a:cubicBezTo>
                <a:cubicBezTo>
                  <a:pt x="590" y="277"/>
                  <a:pt x="596" y="278"/>
                  <a:pt x="601" y="278"/>
                </a:cubicBezTo>
                <a:cubicBezTo>
                  <a:pt x="607" y="278"/>
                  <a:pt x="612" y="277"/>
                  <a:pt x="617" y="276"/>
                </a:cubicBezTo>
                <a:cubicBezTo>
                  <a:pt x="630" y="274"/>
                  <a:pt x="643" y="273"/>
                  <a:pt x="656" y="276"/>
                </a:cubicBezTo>
                <a:cubicBezTo>
                  <a:pt x="660" y="277"/>
                  <a:pt x="665" y="278"/>
                  <a:pt x="670" y="278"/>
                </a:cubicBezTo>
                <a:cubicBezTo>
                  <a:pt x="704" y="277"/>
                  <a:pt x="732" y="249"/>
                  <a:pt x="730" y="215"/>
                </a:cubicBezTo>
                <a:cubicBezTo>
                  <a:pt x="729" y="186"/>
                  <a:pt x="709" y="163"/>
                  <a:pt x="682" y="157"/>
                </a:cubicBezTo>
                <a:close/>
              </a:path>
            </a:pathLst>
          </a:custGeom>
          <a:solidFill>
            <a:srgbClr val="FFFFFF"/>
          </a:solidFill>
          <a:ln>
            <a:noFill/>
          </a:ln>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4" name="Freeform: Shape 3">
            <a:extLst>
              <a:ext uri="{FF2B5EF4-FFF2-40B4-BE49-F238E27FC236}">
                <a16:creationId xmlns:a16="http://schemas.microsoft.com/office/drawing/2014/main" id="{475DAE67-0E93-4EC6-94B3-D6455D441258}"/>
              </a:ext>
            </a:extLst>
          </p:cNvPr>
          <p:cNvSpPr>
            <a:spLocks/>
          </p:cNvSpPr>
          <p:nvPr/>
        </p:nvSpPr>
        <p:spPr bwMode="auto">
          <a:xfrm>
            <a:off x="-21022" y="447"/>
            <a:ext cx="9437227" cy="6857107"/>
          </a:xfrm>
          <a:custGeom>
            <a:avLst/>
            <a:gdLst>
              <a:gd name="connsiteX0" fmla="*/ 6290878 w 14557829"/>
              <a:gd name="connsiteY0" fmla="*/ 1974298 h 13716000"/>
              <a:gd name="connsiteX1" fmla="*/ 4511539 w 14557829"/>
              <a:gd name="connsiteY1" fmla="*/ 2703779 h 13716000"/>
              <a:gd name="connsiteX2" fmla="*/ 3920226 w 14557829"/>
              <a:gd name="connsiteY2" fmla="*/ 2936133 h 13716000"/>
              <a:gd name="connsiteX3" fmla="*/ 3806824 w 14557829"/>
              <a:gd name="connsiteY3" fmla="*/ 2936133 h 13716000"/>
              <a:gd name="connsiteX4" fmla="*/ 1970784 w 14557829"/>
              <a:gd name="connsiteY4" fmla="*/ 4862503 h 13716000"/>
              <a:gd name="connsiteX5" fmla="*/ 2057186 w 14557829"/>
              <a:gd name="connsiteY5" fmla="*/ 5413666 h 13716000"/>
              <a:gd name="connsiteX6" fmla="*/ 1870882 w 14557829"/>
              <a:gd name="connsiteY6" fmla="*/ 6399817 h 13716000"/>
              <a:gd name="connsiteX7" fmla="*/ 1430772 w 14557829"/>
              <a:gd name="connsiteY7" fmla="*/ 7637233 h 13716000"/>
              <a:gd name="connsiteX8" fmla="*/ 3412616 w 14557829"/>
              <a:gd name="connsiteY8" fmla="*/ 8896262 h 13716000"/>
              <a:gd name="connsiteX9" fmla="*/ 3431516 w 14557829"/>
              <a:gd name="connsiteY9" fmla="*/ 8896262 h 13716000"/>
              <a:gd name="connsiteX10" fmla="*/ 3958028 w 14557829"/>
              <a:gd name="connsiteY10" fmla="*/ 9201564 h 13716000"/>
              <a:gd name="connsiteX11" fmla="*/ 5318857 w 14557829"/>
              <a:gd name="connsiteY11" fmla="*/ 10774001 h 13716000"/>
              <a:gd name="connsiteX12" fmla="*/ 7200799 w 14557829"/>
              <a:gd name="connsiteY12" fmla="*/ 10147188 h 13716000"/>
              <a:gd name="connsiteX13" fmla="*/ 8793832 w 14557829"/>
              <a:gd name="connsiteY13" fmla="*/ 10041818 h 13716000"/>
              <a:gd name="connsiteX14" fmla="*/ 9933257 w 14557829"/>
              <a:gd name="connsiteY14" fmla="*/ 10892879 h 13716000"/>
              <a:gd name="connsiteX15" fmla="*/ 13027525 w 14557829"/>
              <a:gd name="connsiteY15" fmla="*/ 9450128 h 13716000"/>
              <a:gd name="connsiteX16" fmla="*/ 13103126 w 14557829"/>
              <a:gd name="connsiteY16" fmla="*/ 8180291 h 13716000"/>
              <a:gd name="connsiteX17" fmla="*/ 12549614 w 14557829"/>
              <a:gd name="connsiteY17" fmla="*/ 6016164 h 13716000"/>
              <a:gd name="connsiteX18" fmla="*/ 10767575 w 14557829"/>
              <a:gd name="connsiteY18" fmla="*/ 3360312 h 13716000"/>
              <a:gd name="connsiteX19" fmla="*/ 10632572 w 14557829"/>
              <a:gd name="connsiteY19" fmla="*/ 3363014 h 13716000"/>
              <a:gd name="connsiteX20" fmla="*/ 10243764 w 14557829"/>
              <a:gd name="connsiteY20" fmla="*/ 3209012 h 13716000"/>
              <a:gd name="connsiteX21" fmla="*/ 8907235 w 14557829"/>
              <a:gd name="connsiteY21" fmla="*/ 2655147 h 13716000"/>
              <a:gd name="connsiteX22" fmla="*/ 8488726 w 14557829"/>
              <a:gd name="connsiteY22" fmla="*/ 2701078 h 13716000"/>
              <a:gd name="connsiteX23" fmla="*/ 7916314 w 14557829"/>
              <a:gd name="connsiteY23" fmla="*/ 2563287 h 13716000"/>
              <a:gd name="connsiteX24" fmla="*/ 6290878 w 14557829"/>
              <a:gd name="connsiteY24" fmla="*/ 1974298 h 13716000"/>
              <a:gd name="connsiteX25" fmla="*/ 0 w 14557829"/>
              <a:gd name="connsiteY25" fmla="*/ 0 h 13716000"/>
              <a:gd name="connsiteX26" fmla="*/ 14557829 w 14557829"/>
              <a:gd name="connsiteY26" fmla="*/ 0 h 13716000"/>
              <a:gd name="connsiteX27" fmla="*/ 14557829 w 14557829"/>
              <a:gd name="connsiteY27" fmla="*/ 13716000 h 13716000"/>
              <a:gd name="connsiteX28" fmla="*/ 0 w 14557829"/>
              <a:gd name="connsiteY28" fmla="*/ 13716000 h 13716000"/>
              <a:gd name="connsiteX0" fmla="*/ 10532137 w 18799088"/>
              <a:gd name="connsiteY0" fmla="*/ 1974298 h 13716000"/>
              <a:gd name="connsiteX1" fmla="*/ 8752798 w 18799088"/>
              <a:gd name="connsiteY1" fmla="*/ 2703779 h 13716000"/>
              <a:gd name="connsiteX2" fmla="*/ 8161485 w 18799088"/>
              <a:gd name="connsiteY2" fmla="*/ 2936133 h 13716000"/>
              <a:gd name="connsiteX3" fmla="*/ 8048083 w 18799088"/>
              <a:gd name="connsiteY3" fmla="*/ 2936133 h 13716000"/>
              <a:gd name="connsiteX4" fmla="*/ 6212043 w 18799088"/>
              <a:gd name="connsiteY4" fmla="*/ 4862503 h 13716000"/>
              <a:gd name="connsiteX5" fmla="*/ 6298445 w 18799088"/>
              <a:gd name="connsiteY5" fmla="*/ 5413666 h 13716000"/>
              <a:gd name="connsiteX6" fmla="*/ 6112141 w 18799088"/>
              <a:gd name="connsiteY6" fmla="*/ 6399817 h 13716000"/>
              <a:gd name="connsiteX7" fmla="*/ 5672031 w 18799088"/>
              <a:gd name="connsiteY7" fmla="*/ 7637233 h 13716000"/>
              <a:gd name="connsiteX8" fmla="*/ 7653875 w 18799088"/>
              <a:gd name="connsiteY8" fmla="*/ 8896262 h 13716000"/>
              <a:gd name="connsiteX9" fmla="*/ 7672775 w 18799088"/>
              <a:gd name="connsiteY9" fmla="*/ 8896262 h 13716000"/>
              <a:gd name="connsiteX10" fmla="*/ 8199287 w 18799088"/>
              <a:gd name="connsiteY10" fmla="*/ 9201564 h 13716000"/>
              <a:gd name="connsiteX11" fmla="*/ 9560116 w 18799088"/>
              <a:gd name="connsiteY11" fmla="*/ 10774001 h 13716000"/>
              <a:gd name="connsiteX12" fmla="*/ 11442058 w 18799088"/>
              <a:gd name="connsiteY12" fmla="*/ 10147188 h 13716000"/>
              <a:gd name="connsiteX13" fmla="*/ 13035091 w 18799088"/>
              <a:gd name="connsiteY13" fmla="*/ 10041818 h 13716000"/>
              <a:gd name="connsiteX14" fmla="*/ 14174516 w 18799088"/>
              <a:gd name="connsiteY14" fmla="*/ 10892879 h 13716000"/>
              <a:gd name="connsiteX15" fmla="*/ 17268784 w 18799088"/>
              <a:gd name="connsiteY15" fmla="*/ 9450128 h 13716000"/>
              <a:gd name="connsiteX16" fmla="*/ 17344385 w 18799088"/>
              <a:gd name="connsiteY16" fmla="*/ 8180291 h 13716000"/>
              <a:gd name="connsiteX17" fmla="*/ 16790873 w 18799088"/>
              <a:gd name="connsiteY17" fmla="*/ 6016164 h 13716000"/>
              <a:gd name="connsiteX18" fmla="*/ 15008834 w 18799088"/>
              <a:gd name="connsiteY18" fmla="*/ 3360312 h 13716000"/>
              <a:gd name="connsiteX19" fmla="*/ 14873831 w 18799088"/>
              <a:gd name="connsiteY19" fmla="*/ 3363014 h 13716000"/>
              <a:gd name="connsiteX20" fmla="*/ 14485023 w 18799088"/>
              <a:gd name="connsiteY20" fmla="*/ 3209012 h 13716000"/>
              <a:gd name="connsiteX21" fmla="*/ 13148494 w 18799088"/>
              <a:gd name="connsiteY21" fmla="*/ 2655147 h 13716000"/>
              <a:gd name="connsiteX22" fmla="*/ 12729985 w 18799088"/>
              <a:gd name="connsiteY22" fmla="*/ 2701078 h 13716000"/>
              <a:gd name="connsiteX23" fmla="*/ 12157573 w 18799088"/>
              <a:gd name="connsiteY23" fmla="*/ 2563287 h 13716000"/>
              <a:gd name="connsiteX24" fmla="*/ 10532137 w 18799088"/>
              <a:gd name="connsiteY24" fmla="*/ 1974298 h 13716000"/>
              <a:gd name="connsiteX25" fmla="*/ 0 w 18799088"/>
              <a:gd name="connsiteY25" fmla="*/ 19455 h 13716000"/>
              <a:gd name="connsiteX26" fmla="*/ 18799088 w 18799088"/>
              <a:gd name="connsiteY26" fmla="*/ 0 h 13716000"/>
              <a:gd name="connsiteX27" fmla="*/ 18799088 w 18799088"/>
              <a:gd name="connsiteY27" fmla="*/ 13716000 h 13716000"/>
              <a:gd name="connsiteX28" fmla="*/ 4241259 w 18799088"/>
              <a:gd name="connsiteY28" fmla="*/ 13716000 h 13716000"/>
              <a:gd name="connsiteX29" fmla="*/ 0 w 18799088"/>
              <a:gd name="connsiteY29" fmla="*/ 19455 h 13716000"/>
              <a:gd name="connsiteX0" fmla="*/ 10609959 w 18876910"/>
              <a:gd name="connsiteY0" fmla="*/ 1974298 h 13716000"/>
              <a:gd name="connsiteX1" fmla="*/ 8830620 w 18876910"/>
              <a:gd name="connsiteY1" fmla="*/ 2703779 h 13716000"/>
              <a:gd name="connsiteX2" fmla="*/ 8239307 w 18876910"/>
              <a:gd name="connsiteY2" fmla="*/ 2936133 h 13716000"/>
              <a:gd name="connsiteX3" fmla="*/ 8125905 w 18876910"/>
              <a:gd name="connsiteY3" fmla="*/ 2936133 h 13716000"/>
              <a:gd name="connsiteX4" fmla="*/ 6289865 w 18876910"/>
              <a:gd name="connsiteY4" fmla="*/ 4862503 h 13716000"/>
              <a:gd name="connsiteX5" fmla="*/ 6376267 w 18876910"/>
              <a:gd name="connsiteY5" fmla="*/ 5413666 h 13716000"/>
              <a:gd name="connsiteX6" fmla="*/ 6189963 w 18876910"/>
              <a:gd name="connsiteY6" fmla="*/ 6399817 h 13716000"/>
              <a:gd name="connsiteX7" fmla="*/ 5749853 w 18876910"/>
              <a:gd name="connsiteY7" fmla="*/ 7637233 h 13716000"/>
              <a:gd name="connsiteX8" fmla="*/ 7731697 w 18876910"/>
              <a:gd name="connsiteY8" fmla="*/ 8896262 h 13716000"/>
              <a:gd name="connsiteX9" fmla="*/ 7750597 w 18876910"/>
              <a:gd name="connsiteY9" fmla="*/ 8896262 h 13716000"/>
              <a:gd name="connsiteX10" fmla="*/ 8277109 w 18876910"/>
              <a:gd name="connsiteY10" fmla="*/ 9201564 h 13716000"/>
              <a:gd name="connsiteX11" fmla="*/ 9637938 w 18876910"/>
              <a:gd name="connsiteY11" fmla="*/ 10774001 h 13716000"/>
              <a:gd name="connsiteX12" fmla="*/ 11519880 w 18876910"/>
              <a:gd name="connsiteY12" fmla="*/ 10147188 h 13716000"/>
              <a:gd name="connsiteX13" fmla="*/ 13112913 w 18876910"/>
              <a:gd name="connsiteY13" fmla="*/ 10041818 h 13716000"/>
              <a:gd name="connsiteX14" fmla="*/ 14252338 w 18876910"/>
              <a:gd name="connsiteY14" fmla="*/ 10892879 h 13716000"/>
              <a:gd name="connsiteX15" fmla="*/ 17346606 w 18876910"/>
              <a:gd name="connsiteY15" fmla="*/ 9450128 h 13716000"/>
              <a:gd name="connsiteX16" fmla="*/ 17422207 w 18876910"/>
              <a:gd name="connsiteY16" fmla="*/ 8180291 h 13716000"/>
              <a:gd name="connsiteX17" fmla="*/ 16868695 w 18876910"/>
              <a:gd name="connsiteY17" fmla="*/ 6016164 h 13716000"/>
              <a:gd name="connsiteX18" fmla="*/ 15086656 w 18876910"/>
              <a:gd name="connsiteY18" fmla="*/ 3360312 h 13716000"/>
              <a:gd name="connsiteX19" fmla="*/ 14951653 w 18876910"/>
              <a:gd name="connsiteY19" fmla="*/ 3363014 h 13716000"/>
              <a:gd name="connsiteX20" fmla="*/ 14562845 w 18876910"/>
              <a:gd name="connsiteY20" fmla="*/ 3209012 h 13716000"/>
              <a:gd name="connsiteX21" fmla="*/ 13226316 w 18876910"/>
              <a:gd name="connsiteY21" fmla="*/ 2655147 h 13716000"/>
              <a:gd name="connsiteX22" fmla="*/ 12807807 w 18876910"/>
              <a:gd name="connsiteY22" fmla="*/ 2701078 h 13716000"/>
              <a:gd name="connsiteX23" fmla="*/ 12235395 w 18876910"/>
              <a:gd name="connsiteY23" fmla="*/ 2563287 h 13716000"/>
              <a:gd name="connsiteX24" fmla="*/ 10609959 w 18876910"/>
              <a:gd name="connsiteY24" fmla="*/ 1974298 h 13716000"/>
              <a:gd name="connsiteX25" fmla="*/ 77822 w 18876910"/>
              <a:gd name="connsiteY25" fmla="*/ 19455 h 13716000"/>
              <a:gd name="connsiteX26" fmla="*/ 18876910 w 18876910"/>
              <a:gd name="connsiteY26" fmla="*/ 0 h 13716000"/>
              <a:gd name="connsiteX27" fmla="*/ 18876910 w 18876910"/>
              <a:gd name="connsiteY27" fmla="*/ 13716000 h 13716000"/>
              <a:gd name="connsiteX28" fmla="*/ 0 w 18876910"/>
              <a:gd name="connsiteY28" fmla="*/ 13716000 h 13716000"/>
              <a:gd name="connsiteX29" fmla="*/ 77822 w 18876910"/>
              <a:gd name="connsiteY29" fmla="*/ 19455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876910" h="13716000">
                <a:moveTo>
                  <a:pt x="10609959" y="1974298"/>
                </a:moveTo>
                <a:cubicBezTo>
                  <a:pt x="9918744" y="1974298"/>
                  <a:pt x="9289631" y="2252582"/>
                  <a:pt x="8830620" y="2703779"/>
                </a:cubicBezTo>
                <a:cubicBezTo>
                  <a:pt x="8674017" y="2857781"/>
                  <a:pt x="8460713" y="2941536"/>
                  <a:pt x="8239307" y="2936133"/>
                </a:cubicBezTo>
                <a:lnTo>
                  <a:pt x="8125905" y="2936133"/>
                </a:lnTo>
                <a:cubicBezTo>
                  <a:pt x="7089083" y="2971256"/>
                  <a:pt x="6276365" y="3825019"/>
                  <a:pt x="6289865" y="4862503"/>
                </a:cubicBezTo>
                <a:cubicBezTo>
                  <a:pt x="6289865" y="5054329"/>
                  <a:pt x="6322266" y="5238050"/>
                  <a:pt x="6376267" y="5413666"/>
                </a:cubicBezTo>
                <a:cubicBezTo>
                  <a:pt x="6481569" y="5754091"/>
                  <a:pt x="6419468" y="6126937"/>
                  <a:pt x="6189963" y="6399817"/>
                </a:cubicBezTo>
                <a:cubicBezTo>
                  <a:pt x="5911857" y="6734838"/>
                  <a:pt x="5744453" y="7167123"/>
                  <a:pt x="5749853" y="7637233"/>
                </a:cubicBezTo>
                <a:cubicBezTo>
                  <a:pt x="5760654" y="8685524"/>
                  <a:pt x="6684074" y="8896262"/>
                  <a:pt x="7731697" y="8896262"/>
                </a:cubicBezTo>
                <a:lnTo>
                  <a:pt x="7750597" y="8896262"/>
                </a:lnTo>
                <a:cubicBezTo>
                  <a:pt x="7969302" y="8893561"/>
                  <a:pt x="8169106" y="9012440"/>
                  <a:pt x="8277109" y="9201564"/>
                </a:cubicBezTo>
                <a:cubicBezTo>
                  <a:pt x="8711818" y="9974274"/>
                  <a:pt x="8741518" y="10463296"/>
                  <a:pt x="9637938" y="10774001"/>
                </a:cubicBezTo>
                <a:cubicBezTo>
                  <a:pt x="10699061" y="11144145"/>
                  <a:pt x="11244474" y="10452489"/>
                  <a:pt x="11519880" y="10147188"/>
                </a:cubicBezTo>
                <a:cubicBezTo>
                  <a:pt x="11968089" y="9650060"/>
                  <a:pt x="12567502" y="9709499"/>
                  <a:pt x="13112913" y="10041818"/>
                </a:cubicBezTo>
                <a:cubicBezTo>
                  <a:pt x="13407220" y="10220136"/>
                  <a:pt x="13669125" y="10665930"/>
                  <a:pt x="14252338" y="10892879"/>
                </a:cubicBezTo>
                <a:cubicBezTo>
                  <a:pt x="15497065" y="11379200"/>
                  <a:pt x="16971297" y="10663228"/>
                  <a:pt x="17346606" y="9450128"/>
                </a:cubicBezTo>
                <a:cubicBezTo>
                  <a:pt x="17416807" y="9225880"/>
                  <a:pt x="17276404" y="8364012"/>
                  <a:pt x="17422207" y="8180291"/>
                </a:cubicBezTo>
                <a:cubicBezTo>
                  <a:pt x="17821816" y="7672356"/>
                  <a:pt x="16868695" y="6713223"/>
                  <a:pt x="16868695" y="6016164"/>
                </a:cubicBezTo>
                <a:cubicBezTo>
                  <a:pt x="16868695" y="4373480"/>
                  <a:pt x="16463686" y="3870949"/>
                  <a:pt x="15086656" y="3360312"/>
                </a:cubicBezTo>
                <a:cubicBezTo>
                  <a:pt x="15043455" y="3344102"/>
                  <a:pt x="14997554" y="3360312"/>
                  <a:pt x="14951653" y="3363014"/>
                </a:cubicBezTo>
                <a:cubicBezTo>
                  <a:pt x="14805850" y="3368418"/>
                  <a:pt x="14665447" y="3314382"/>
                  <a:pt x="14562845" y="3209012"/>
                </a:cubicBezTo>
                <a:cubicBezTo>
                  <a:pt x="14222638" y="2865886"/>
                  <a:pt x="13750127" y="2655147"/>
                  <a:pt x="13226316" y="2655147"/>
                </a:cubicBezTo>
                <a:cubicBezTo>
                  <a:pt x="13083213" y="2655147"/>
                  <a:pt x="12942810" y="2671358"/>
                  <a:pt x="12807807" y="2701078"/>
                </a:cubicBezTo>
                <a:cubicBezTo>
                  <a:pt x="12605303" y="2747008"/>
                  <a:pt x="12394698" y="2695674"/>
                  <a:pt x="12235395" y="2563287"/>
                </a:cubicBezTo>
                <a:cubicBezTo>
                  <a:pt x="11795285" y="2195844"/>
                  <a:pt x="11228273" y="1974298"/>
                  <a:pt x="10609959" y="1974298"/>
                </a:cubicBezTo>
                <a:close/>
                <a:moveTo>
                  <a:pt x="77822" y="19455"/>
                </a:moveTo>
                <a:lnTo>
                  <a:pt x="18876910" y="0"/>
                </a:lnTo>
                <a:lnTo>
                  <a:pt x="18876910" y="13716000"/>
                </a:lnTo>
                <a:lnTo>
                  <a:pt x="0" y="13716000"/>
                </a:lnTo>
                <a:cubicBezTo>
                  <a:pt x="0" y="9144000"/>
                  <a:pt x="77822" y="4591455"/>
                  <a:pt x="77822" y="19455"/>
                </a:cubicBezTo>
                <a:close/>
              </a:path>
            </a:pathLst>
          </a:custGeom>
          <a:solidFill>
            <a:schemeClr val="bg1"/>
          </a:solidFill>
          <a:ln>
            <a:noFill/>
          </a:ln>
          <a:effectLst>
            <a:outerShdw blurRad="393700" sx="93000" sy="93000" algn="ctr" rotWithShape="0">
              <a:srgbClr val="8FBAF9">
                <a:alpha val="23000"/>
              </a:srgbClr>
            </a:outerShdw>
          </a:effec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grpSp>
        <p:nvGrpSpPr>
          <p:cNvPr id="60" name="Group 59">
            <a:extLst>
              <a:ext uri="{FF2B5EF4-FFF2-40B4-BE49-F238E27FC236}">
                <a16:creationId xmlns:a16="http://schemas.microsoft.com/office/drawing/2014/main" id="{F304CDEB-FBD5-4AA2-9C6C-0163FC1C2A22}"/>
              </a:ext>
            </a:extLst>
          </p:cNvPr>
          <p:cNvGrpSpPr/>
          <p:nvPr/>
        </p:nvGrpSpPr>
        <p:grpSpPr>
          <a:xfrm>
            <a:off x="3822896" y="3322335"/>
            <a:ext cx="4022693" cy="2779431"/>
            <a:chOff x="14182725" y="688975"/>
            <a:chExt cx="8023225" cy="5543550"/>
          </a:xfrm>
        </p:grpSpPr>
        <p:sp>
          <p:nvSpPr>
            <p:cNvPr id="55" name="Freeform 48">
              <a:extLst>
                <a:ext uri="{FF2B5EF4-FFF2-40B4-BE49-F238E27FC236}">
                  <a16:creationId xmlns:a16="http://schemas.microsoft.com/office/drawing/2014/main" id="{BCA9C860-B0FD-4978-B273-26C246CCB6B3}"/>
                </a:ext>
              </a:extLst>
            </p:cNvPr>
            <p:cNvSpPr>
              <a:spLocks/>
            </p:cNvSpPr>
            <p:nvPr/>
          </p:nvSpPr>
          <p:spPr bwMode="auto">
            <a:xfrm>
              <a:off x="15201900" y="688975"/>
              <a:ext cx="5754688" cy="5543550"/>
            </a:xfrm>
            <a:custGeom>
              <a:avLst/>
              <a:gdLst>
                <a:gd name="T0" fmla="*/ 0 w 3625"/>
                <a:gd name="T1" fmla="*/ 0 h 3492"/>
                <a:gd name="T2" fmla="*/ 1952 w 3625"/>
                <a:gd name="T3" fmla="*/ 3492 h 3492"/>
                <a:gd name="T4" fmla="*/ 3625 w 3625"/>
                <a:gd name="T5" fmla="*/ 0 h 3492"/>
                <a:gd name="T6" fmla="*/ 0 w 3625"/>
                <a:gd name="T7" fmla="*/ 0 h 3492"/>
              </a:gdLst>
              <a:ahLst/>
              <a:cxnLst>
                <a:cxn ang="0">
                  <a:pos x="T0" y="T1"/>
                </a:cxn>
                <a:cxn ang="0">
                  <a:pos x="T2" y="T3"/>
                </a:cxn>
                <a:cxn ang="0">
                  <a:pos x="T4" y="T5"/>
                </a:cxn>
                <a:cxn ang="0">
                  <a:pos x="T6" y="T7"/>
                </a:cxn>
              </a:cxnLst>
              <a:rect l="0" t="0" r="r" b="b"/>
              <a:pathLst>
                <a:path w="3625" h="3492">
                  <a:moveTo>
                    <a:pt x="0" y="0"/>
                  </a:moveTo>
                  <a:lnTo>
                    <a:pt x="1952" y="3492"/>
                  </a:lnTo>
                  <a:lnTo>
                    <a:pt x="3625" y="0"/>
                  </a:lnTo>
                  <a:lnTo>
                    <a:pt x="0" y="0"/>
                  </a:lnTo>
                  <a:close/>
                </a:path>
              </a:pathLst>
            </a:custGeom>
            <a:solidFill>
              <a:srgbClr val="5097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56" name="Freeform 49">
              <a:extLst>
                <a:ext uri="{FF2B5EF4-FFF2-40B4-BE49-F238E27FC236}">
                  <a16:creationId xmlns:a16="http://schemas.microsoft.com/office/drawing/2014/main" id="{3BA87754-A678-4388-A54E-625FFF7FD95E}"/>
                </a:ext>
              </a:extLst>
            </p:cNvPr>
            <p:cNvSpPr>
              <a:spLocks/>
            </p:cNvSpPr>
            <p:nvPr/>
          </p:nvSpPr>
          <p:spPr bwMode="auto">
            <a:xfrm>
              <a:off x="17570450" y="688975"/>
              <a:ext cx="4635500" cy="3959225"/>
            </a:xfrm>
            <a:custGeom>
              <a:avLst/>
              <a:gdLst>
                <a:gd name="T0" fmla="*/ 0 w 2920"/>
                <a:gd name="T1" fmla="*/ 0 h 2494"/>
                <a:gd name="T2" fmla="*/ 1629 w 2920"/>
                <a:gd name="T3" fmla="*/ 2494 h 2494"/>
                <a:gd name="T4" fmla="*/ 2920 w 2920"/>
                <a:gd name="T5" fmla="*/ 0 h 2494"/>
                <a:gd name="T6" fmla="*/ 0 w 2920"/>
                <a:gd name="T7" fmla="*/ 0 h 2494"/>
              </a:gdLst>
              <a:ahLst/>
              <a:cxnLst>
                <a:cxn ang="0">
                  <a:pos x="T0" y="T1"/>
                </a:cxn>
                <a:cxn ang="0">
                  <a:pos x="T2" y="T3"/>
                </a:cxn>
                <a:cxn ang="0">
                  <a:pos x="T4" y="T5"/>
                </a:cxn>
                <a:cxn ang="0">
                  <a:pos x="T6" y="T7"/>
                </a:cxn>
              </a:cxnLst>
              <a:rect l="0" t="0" r="r" b="b"/>
              <a:pathLst>
                <a:path w="2920" h="2494">
                  <a:moveTo>
                    <a:pt x="0" y="0"/>
                  </a:moveTo>
                  <a:lnTo>
                    <a:pt x="1629" y="2494"/>
                  </a:lnTo>
                  <a:lnTo>
                    <a:pt x="2920" y="0"/>
                  </a:lnTo>
                  <a:lnTo>
                    <a:pt x="0" y="0"/>
                  </a:lnTo>
                  <a:close/>
                </a:path>
              </a:pathLst>
            </a:custGeom>
            <a:solidFill>
              <a:srgbClr val="5097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57" name="Freeform 50">
              <a:extLst>
                <a:ext uri="{FF2B5EF4-FFF2-40B4-BE49-F238E27FC236}">
                  <a16:creationId xmlns:a16="http://schemas.microsoft.com/office/drawing/2014/main" id="{7B2B7292-F548-4FC8-AEAB-5B443B4CE056}"/>
                </a:ext>
              </a:extLst>
            </p:cNvPr>
            <p:cNvSpPr>
              <a:spLocks/>
            </p:cNvSpPr>
            <p:nvPr/>
          </p:nvSpPr>
          <p:spPr bwMode="auto">
            <a:xfrm>
              <a:off x="19040475" y="688975"/>
              <a:ext cx="985838" cy="2992438"/>
            </a:xfrm>
            <a:custGeom>
              <a:avLst/>
              <a:gdLst>
                <a:gd name="T0" fmla="*/ 305 w 621"/>
                <a:gd name="T1" fmla="*/ 1885 h 1885"/>
                <a:gd name="T2" fmla="*/ 0 w 621"/>
                <a:gd name="T3" fmla="*/ 992 h 1885"/>
                <a:gd name="T4" fmla="*/ 351 w 621"/>
                <a:gd name="T5" fmla="*/ 0 h 1885"/>
                <a:gd name="T6" fmla="*/ 621 w 621"/>
                <a:gd name="T7" fmla="*/ 942 h 1885"/>
                <a:gd name="T8" fmla="*/ 305 w 621"/>
                <a:gd name="T9" fmla="*/ 1885 h 1885"/>
              </a:gdLst>
              <a:ahLst/>
              <a:cxnLst>
                <a:cxn ang="0">
                  <a:pos x="T0" y="T1"/>
                </a:cxn>
                <a:cxn ang="0">
                  <a:pos x="T2" y="T3"/>
                </a:cxn>
                <a:cxn ang="0">
                  <a:pos x="T4" y="T5"/>
                </a:cxn>
                <a:cxn ang="0">
                  <a:pos x="T6" y="T7"/>
                </a:cxn>
                <a:cxn ang="0">
                  <a:pos x="T8" y="T9"/>
                </a:cxn>
              </a:cxnLst>
              <a:rect l="0" t="0" r="r" b="b"/>
              <a:pathLst>
                <a:path w="621" h="1885">
                  <a:moveTo>
                    <a:pt x="305" y="1885"/>
                  </a:moveTo>
                  <a:lnTo>
                    <a:pt x="0" y="992"/>
                  </a:lnTo>
                  <a:lnTo>
                    <a:pt x="351" y="0"/>
                  </a:lnTo>
                  <a:lnTo>
                    <a:pt x="621" y="942"/>
                  </a:lnTo>
                  <a:lnTo>
                    <a:pt x="305" y="1885"/>
                  </a:lnTo>
                  <a:close/>
                </a:path>
              </a:pathLst>
            </a:custGeom>
            <a:solidFill>
              <a:srgbClr val="3171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58" name="Freeform 51">
              <a:extLst>
                <a:ext uri="{FF2B5EF4-FFF2-40B4-BE49-F238E27FC236}">
                  <a16:creationId xmlns:a16="http://schemas.microsoft.com/office/drawing/2014/main" id="{B5BCE9D9-1DA3-4770-A6F4-58E0935B0C39}"/>
                </a:ext>
              </a:extLst>
            </p:cNvPr>
            <p:cNvSpPr>
              <a:spLocks/>
            </p:cNvSpPr>
            <p:nvPr/>
          </p:nvSpPr>
          <p:spPr bwMode="auto">
            <a:xfrm>
              <a:off x="14182725" y="688975"/>
              <a:ext cx="3467100" cy="2963863"/>
            </a:xfrm>
            <a:custGeom>
              <a:avLst/>
              <a:gdLst>
                <a:gd name="T0" fmla="*/ 0 w 2184"/>
                <a:gd name="T1" fmla="*/ 0 h 1867"/>
                <a:gd name="T2" fmla="*/ 1219 w 2184"/>
                <a:gd name="T3" fmla="*/ 1867 h 1867"/>
                <a:gd name="T4" fmla="*/ 2184 w 2184"/>
                <a:gd name="T5" fmla="*/ 0 h 1867"/>
                <a:gd name="T6" fmla="*/ 0 w 2184"/>
                <a:gd name="T7" fmla="*/ 0 h 1867"/>
              </a:gdLst>
              <a:ahLst/>
              <a:cxnLst>
                <a:cxn ang="0">
                  <a:pos x="T0" y="T1"/>
                </a:cxn>
                <a:cxn ang="0">
                  <a:pos x="T2" y="T3"/>
                </a:cxn>
                <a:cxn ang="0">
                  <a:pos x="T4" y="T5"/>
                </a:cxn>
                <a:cxn ang="0">
                  <a:pos x="T6" y="T7"/>
                </a:cxn>
              </a:cxnLst>
              <a:rect l="0" t="0" r="r" b="b"/>
              <a:pathLst>
                <a:path w="2184" h="1867">
                  <a:moveTo>
                    <a:pt x="0" y="0"/>
                  </a:moveTo>
                  <a:lnTo>
                    <a:pt x="1219" y="1867"/>
                  </a:lnTo>
                  <a:lnTo>
                    <a:pt x="2184" y="0"/>
                  </a:lnTo>
                  <a:lnTo>
                    <a:pt x="0" y="0"/>
                  </a:lnTo>
                  <a:close/>
                </a:path>
              </a:pathLst>
            </a:custGeom>
            <a:solidFill>
              <a:srgbClr val="0D5A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sp>
          <p:nvSpPr>
            <p:cNvPr id="59" name="Freeform 52">
              <a:extLst>
                <a:ext uri="{FF2B5EF4-FFF2-40B4-BE49-F238E27FC236}">
                  <a16:creationId xmlns:a16="http://schemas.microsoft.com/office/drawing/2014/main" id="{E6934585-02D4-439D-A703-BF0426097929}"/>
                </a:ext>
              </a:extLst>
            </p:cNvPr>
            <p:cNvSpPr>
              <a:spLocks/>
            </p:cNvSpPr>
            <p:nvPr/>
          </p:nvSpPr>
          <p:spPr bwMode="auto">
            <a:xfrm>
              <a:off x="15201900" y="688975"/>
              <a:ext cx="3098800" cy="5543550"/>
            </a:xfrm>
            <a:custGeom>
              <a:avLst/>
              <a:gdLst>
                <a:gd name="T0" fmla="*/ 1952 w 1952"/>
                <a:gd name="T1" fmla="*/ 3492 h 3492"/>
                <a:gd name="T2" fmla="*/ 1656 w 1952"/>
                <a:gd name="T3" fmla="*/ 1248 h 3492"/>
                <a:gd name="T4" fmla="*/ 785 w 1952"/>
                <a:gd name="T5" fmla="*/ 0 h 3492"/>
                <a:gd name="T6" fmla="*/ 0 w 1952"/>
                <a:gd name="T7" fmla="*/ 0 h 3492"/>
                <a:gd name="T8" fmla="*/ 1952 w 1952"/>
                <a:gd name="T9" fmla="*/ 3492 h 3492"/>
              </a:gdLst>
              <a:ahLst/>
              <a:cxnLst>
                <a:cxn ang="0">
                  <a:pos x="T0" y="T1"/>
                </a:cxn>
                <a:cxn ang="0">
                  <a:pos x="T2" y="T3"/>
                </a:cxn>
                <a:cxn ang="0">
                  <a:pos x="T4" y="T5"/>
                </a:cxn>
                <a:cxn ang="0">
                  <a:pos x="T6" y="T7"/>
                </a:cxn>
                <a:cxn ang="0">
                  <a:pos x="T8" y="T9"/>
                </a:cxn>
              </a:cxnLst>
              <a:rect l="0" t="0" r="r" b="b"/>
              <a:pathLst>
                <a:path w="1952" h="3492">
                  <a:moveTo>
                    <a:pt x="1952" y="3492"/>
                  </a:moveTo>
                  <a:lnTo>
                    <a:pt x="1656" y="1248"/>
                  </a:lnTo>
                  <a:lnTo>
                    <a:pt x="785" y="0"/>
                  </a:lnTo>
                  <a:lnTo>
                    <a:pt x="0" y="0"/>
                  </a:lnTo>
                  <a:lnTo>
                    <a:pt x="1952" y="3492"/>
                  </a:lnTo>
                  <a:close/>
                </a:path>
              </a:pathLst>
            </a:custGeom>
            <a:solidFill>
              <a:srgbClr val="2975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5" tIns="22857" rIns="45715" bIns="22857" numCol="1" anchor="t" anchorCtr="0" compatLnSpc="1">
              <a:prstTxWarp prst="textNoShape">
                <a:avLst/>
              </a:prstTxWarp>
            </a:bodyPr>
            <a:lstStyle/>
            <a:p>
              <a:pPr defTabSz="228594">
                <a:defRPr/>
              </a:pPr>
              <a:endParaRPr lang="nb-NO" sz="900">
                <a:solidFill>
                  <a:srgbClr val="283147"/>
                </a:solidFill>
                <a:latin typeface="Microsoft JhengHei UI Light" panose="020B0304030504040204" pitchFamily="34" charset="-120"/>
                <a:ea typeface="Microsoft JhengHei UI Light" panose="020B0304030504040204" pitchFamily="34" charset="-120"/>
              </a:endParaRPr>
            </a:p>
          </p:txBody>
        </p:sp>
      </p:grpSp>
      <p:sp>
        <p:nvSpPr>
          <p:cNvPr id="65" name="TextBox 64">
            <a:extLst>
              <a:ext uri="{FF2B5EF4-FFF2-40B4-BE49-F238E27FC236}">
                <a16:creationId xmlns:a16="http://schemas.microsoft.com/office/drawing/2014/main" id="{BD408093-78A4-4F15-B0D0-23B7B9032363}"/>
              </a:ext>
            </a:extLst>
          </p:cNvPr>
          <p:cNvSpPr txBox="1"/>
          <p:nvPr/>
        </p:nvSpPr>
        <p:spPr>
          <a:xfrm>
            <a:off x="6242924" y="2364511"/>
            <a:ext cx="2533398" cy="562630"/>
          </a:xfrm>
          <a:prstGeom prst="roundRect">
            <a:avLst>
              <a:gd name="adj" fmla="val 50000"/>
            </a:avLst>
          </a:prstGeom>
          <a:solidFill>
            <a:schemeClr val="accent1"/>
          </a:solidFill>
        </p:spPr>
        <p:txBody>
          <a:bodyPr wrap="none" rtlCol="0" anchor="ctr">
            <a:spAutoFit/>
          </a:bodyPr>
          <a:lstStyle/>
          <a:p>
            <a:pPr algn="ctr" defTabSz="228594">
              <a:defRPr/>
            </a:pPr>
            <a:r>
              <a:rPr lang="nb-NO" sz="2000" b="1" dirty="0">
                <a:solidFill>
                  <a:srgbClr val="FFFFFF"/>
                </a:solidFill>
                <a:latin typeface="Microsoft JhengHei UI Light" panose="020B0304030504040204" pitchFamily="34" charset="-120"/>
                <a:ea typeface="Microsoft JhengHei UI Light" panose="020B0304030504040204" pitchFamily="34" charset="-120"/>
              </a:rPr>
              <a:t>Over 60 nettsteder</a:t>
            </a:r>
            <a:endParaRPr lang="nb-NO" sz="2000" dirty="0">
              <a:solidFill>
                <a:srgbClr val="FFFFFF"/>
              </a:solidFill>
              <a:latin typeface="Microsoft JhengHei UI Light" panose="020B0304030504040204" pitchFamily="34" charset="-120"/>
              <a:ea typeface="Microsoft JhengHei UI Light" panose="020B0304030504040204" pitchFamily="34" charset="-120"/>
            </a:endParaRPr>
          </a:p>
        </p:txBody>
      </p:sp>
      <p:sp>
        <p:nvSpPr>
          <p:cNvPr id="66" name="TextBox 65">
            <a:extLst>
              <a:ext uri="{FF2B5EF4-FFF2-40B4-BE49-F238E27FC236}">
                <a16:creationId xmlns:a16="http://schemas.microsoft.com/office/drawing/2014/main" id="{F30BA8DD-242C-4AB4-B736-18E727EB8116}"/>
              </a:ext>
            </a:extLst>
          </p:cNvPr>
          <p:cNvSpPr txBox="1"/>
          <p:nvPr/>
        </p:nvSpPr>
        <p:spPr>
          <a:xfrm>
            <a:off x="4127133" y="3662081"/>
            <a:ext cx="5045197" cy="562630"/>
          </a:xfrm>
          <a:prstGeom prst="roundRect">
            <a:avLst>
              <a:gd name="adj" fmla="val 50000"/>
            </a:avLst>
          </a:prstGeom>
          <a:solidFill>
            <a:schemeClr val="tx1"/>
          </a:solidFill>
        </p:spPr>
        <p:txBody>
          <a:bodyPr wrap="none" rtlCol="0" anchor="ctr">
            <a:spAutoFit/>
          </a:bodyPr>
          <a:lstStyle/>
          <a:p>
            <a:pPr algn="ctr" defTabSz="228594">
              <a:defRPr/>
            </a:pPr>
            <a:r>
              <a:rPr lang="nb-NO" sz="2000" b="1">
                <a:solidFill>
                  <a:schemeClr val="bg1"/>
                </a:solidFill>
                <a:latin typeface="Microsoft JhengHei UI Light" panose="020B0304030504040204" pitchFamily="34" charset="-120"/>
                <a:ea typeface="Microsoft JhengHei UI Light" panose="020B0304030504040204" pitchFamily="34" charset="-120"/>
              </a:rPr>
              <a:t>Snart 1600 sider med pasientinformasjon</a:t>
            </a:r>
            <a:endParaRPr lang="nb-NO" sz="2000">
              <a:solidFill>
                <a:schemeClr val="bg1"/>
              </a:solidFill>
              <a:latin typeface="Microsoft JhengHei UI Light" panose="020B0304030504040204" pitchFamily="34" charset="-120"/>
              <a:ea typeface="Microsoft JhengHei UI Light" panose="020B0304030504040204" pitchFamily="34" charset="-120"/>
            </a:endParaRPr>
          </a:p>
        </p:txBody>
      </p:sp>
      <p:sp>
        <p:nvSpPr>
          <p:cNvPr id="67" name="TextBox 66">
            <a:extLst>
              <a:ext uri="{FF2B5EF4-FFF2-40B4-BE49-F238E27FC236}">
                <a16:creationId xmlns:a16="http://schemas.microsoft.com/office/drawing/2014/main" id="{51803147-1C9F-4F4A-BFC0-B4121DE2BA78}"/>
              </a:ext>
            </a:extLst>
          </p:cNvPr>
          <p:cNvSpPr txBox="1"/>
          <p:nvPr/>
        </p:nvSpPr>
        <p:spPr>
          <a:xfrm>
            <a:off x="9276002" y="2249195"/>
            <a:ext cx="2233601" cy="338554"/>
          </a:xfrm>
          <a:prstGeom prst="rect">
            <a:avLst/>
          </a:prstGeom>
          <a:noFill/>
        </p:spPr>
        <p:txBody>
          <a:bodyPr wrap="square" rtlCol="0" anchor="b">
            <a:spAutoFit/>
          </a:bodyPr>
          <a:lstStyle/>
          <a:p>
            <a:pPr algn="r" defTabSz="228594">
              <a:defRPr/>
            </a:pPr>
            <a:r>
              <a:rPr lang="nb-NO" sz="1600" b="1">
                <a:latin typeface="Microsoft JhengHei UI Light" panose="020B0304030504040204" pitchFamily="34" charset="-120"/>
                <a:ea typeface="Microsoft JhengHei UI Light" panose="020B0304030504040204" pitchFamily="34" charset="-120"/>
              </a:rPr>
              <a:t>Frittstående nettsider</a:t>
            </a:r>
          </a:p>
        </p:txBody>
      </p:sp>
      <p:cxnSp>
        <p:nvCxnSpPr>
          <p:cNvPr id="68" name="Straight Connector 67">
            <a:extLst>
              <a:ext uri="{FF2B5EF4-FFF2-40B4-BE49-F238E27FC236}">
                <a16:creationId xmlns:a16="http://schemas.microsoft.com/office/drawing/2014/main" id="{3FD6C09B-1BA0-4327-AFD1-584CF1AC5737}"/>
              </a:ext>
            </a:extLst>
          </p:cNvPr>
          <p:cNvCxnSpPr>
            <a:cxnSpLocks/>
          </p:cNvCxnSpPr>
          <p:nvPr/>
        </p:nvCxnSpPr>
        <p:spPr>
          <a:xfrm flipV="1">
            <a:off x="8592278" y="2664681"/>
            <a:ext cx="2917324" cy="2531"/>
          </a:xfrm>
          <a:prstGeom prst="line">
            <a:avLst/>
          </a:prstGeom>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727966AC-B296-4C3D-9A95-62B9D8FEBA22}"/>
              </a:ext>
            </a:extLst>
          </p:cNvPr>
          <p:cNvSpPr txBox="1"/>
          <p:nvPr/>
        </p:nvSpPr>
        <p:spPr>
          <a:xfrm>
            <a:off x="9472077" y="2741616"/>
            <a:ext cx="2037527" cy="369332"/>
          </a:xfrm>
          <a:prstGeom prst="rect">
            <a:avLst/>
          </a:prstGeom>
          <a:noFill/>
        </p:spPr>
        <p:txBody>
          <a:bodyPr wrap="square" rtlCol="0">
            <a:spAutoFit/>
          </a:bodyPr>
          <a:lstStyle/>
          <a:p>
            <a:pPr algn="r" defTabSz="228594">
              <a:defRPr/>
            </a:pPr>
            <a:r>
              <a:rPr lang="nb-NO" sz="900">
                <a:latin typeface="Microsoft JhengHei UI Light" panose="020B0304030504040204" pitchFamily="34" charset="-120"/>
                <a:ea typeface="Microsoft JhengHei UI Light" panose="020B0304030504040204" pitchFamily="34" charset="-120"/>
              </a:rPr>
              <a:t>Alle helseforetakene og flere private ideelle</a:t>
            </a:r>
          </a:p>
        </p:txBody>
      </p:sp>
      <p:sp>
        <p:nvSpPr>
          <p:cNvPr id="71" name="TextBox 70">
            <a:extLst>
              <a:ext uri="{FF2B5EF4-FFF2-40B4-BE49-F238E27FC236}">
                <a16:creationId xmlns:a16="http://schemas.microsoft.com/office/drawing/2014/main" id="{1051588D-6E74-48E3-BDC8-90C0E1819193}"/>
              </a:ext>
            </a:extLst>
          </p:cNvPr>
          <p:cNvSpPr txBox="1"/>
          <p:nvPr/>
        </p:nvSpPr>
        <p:spPr>
          <a:xfrm>
            <a:off x="9276002" y="3522421"/>
            <a:ext cx="2233601" cy="338554"/>
          </a:xfrm>
          <a:prstGeom prst="rect">
            <a:avLst/>
          </a:prstGeom>
          <a:noFill/>
        </p:spPr>
        <p:txBody>
          <a:bodyPr wrap="square" rtlCol="0" anchor="b">
            <a:spAutoFit/>
          </a:bodyPr>
          <a:lstStyle/>
          <a:p>
            <a:pPr algn="r" defTabSz="228594">
              <a:defRPr/>
            </a:pPr>
            <a:r>
              <a:rPr lang="nb-NO" sz="1600" b="1">
                <a:latin typeface="Microsoft JhengHei UI Light" panose="020B0304030504040204" pitchFamily="34" charset="-120"/>
                <a:ea typeface="Microsoft JhengHei UI Light" panose="020B0304030504040204" pitchFamily="34" charset="-120"/>
              </a:rPr>
              <a:t>Nasjonalt felleskap</a:t>
            </a:r>
          </a:p>
        </p:txBody>
      </p:sp>
      <p:cxnSp>
        <p:nvCxnSpPr>
          <p:cNvPr id="72" name="Straight Connector 71">
            <a:extLst>
              <a:ext uri="{FF2B5EF4-FFF2-40B4-BE49-F238E27FC236}">
                <a16:creationId xmlns:a16="http://schemas.microsoft.com/office/drawing/2014/main" id="{1F6124A7-462A-4154-B0DE-AA105C722D07}"/>
              </a:ext>
            </a:extLst>
          </p:cNvPr>
          <p:cNvCxnSpPr>
            <a:cxnSpLocks/>
          </p:cNvCxnSpPr>
          <p:nvPr/>
        </p:nvCxnSpPr>
        <p:spPr>
          <a:xfrm>
            <a:off x="9403507" y="3937909"/>
            <a:ext cx="2106096" cy="0"/>
          </a:xfrm>
          <a:prstGeom prst="line">
            <a:avLst/>
          </a:prstGeom>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57A7418A-9C7F-451C-A856-2D2EB56463F8}"/>
              </a:ext>
            </a:extLst>
          </p:cNvPr>
          <p:cNvSpPr txBox="1"/>
          <p:nvPr/>
        </p:nvSpPr>
        <p:spPr>
          <a:xfrm>
            <a:off x="9472077" y="4014845"/>
            <a:ext cx="2037527" cy="646331"/>
          </a:xfrm>
          <a:prstGeom prst="rect">
            <a:avLst/>
          </a:prstGeom>
          <a:noFill/>
        </p:spPr>
        <p:txBody>
          <a:bodyPr wrap="square" rtlCol="0">
            <a:spAutoFit/>
          </a:bodyPr>
          <a:lstStyle/>
          <a:p>
            <a:pPr algn="r" defTabSz="228594">
              <a:defRPr/>
            </a:pPr>
            <a:r>
              <a:rPr lang="nb-NO" sz="900">
                <a:latin typeface="Microsoft JhengHei UI Light" panose="020B0304030504040204" pitchFamily="34" charset="-120"/>
                <a:ea typeface="Microsoft JhengHei UI Light" panose="020B0304030504040204" pitchFamily="34" charset="-120"/>
              </a:rPr>
              <a:t>Felles pasientinformasjon lagret sentralt som blir gjenbrukt på nettsidene våre og på helsenorge.no</a:t>
            </a:r>
          </a:p>
        </p:txBody>
      </p:sp>
      <p:sp>
        <p:nvSpPr>
          <p:cNvPr id="75" name="TextBox 74">
            <a:extLst>
              <a:ext uri="{FF2B5EF4-FFF2-40B4-BE49-F238E27FC236}">
                <a16:creationId xmlns:a16="http://schemas.microsoft.com/office/drawing/2014/main" id="{D35A0F15-AF67-4938-A168-113ADFAE339E}"/>
              </a:ext>
            </a:extLst>
          </p:cNvPr>
          <p:cNvSpPr txBox="1"/>
          <p:nvPr/>
        </p:nvSpPr>
        <p:spPr>
          <a:xfrm>
            <a:off x="605724" y="2452260"/>
            <a:ext cx="2055797" cy="2134174"/>
          </a:xfrm>
          <a:prstGeom prst="rect">
            <a:avLst/>
          </a:prstGeom>
          <a:noFill/>
        </p:spPr>
        <p:txBody>
          <a:bodyPr wrap="square" lIns="121920" tIns="60960" rIns="121920" bIns="60960" rtlCol="0" anchor="ctr">
            <a:spAutoFit/>
          </a:bodyPr>
          <a:lstStyle/>
          <a:p>
            <a:pPr defTabSz="228594">
              <a:defRPr/>
            </a:pPr>
            <a:r>
              <a:rPr lang="nb-NO" sz="3267" dirty="0">
                <a:latin typeface="Microsoft JhengHei UI Light"/>
                <a:ea typeface="Microsoft JhengHei UI Light"/>
              </a:rPr>
              <a:t>FNSP er to ting på én gang</a:t>
            </a:r>
          </a:p>
        </p:txBody>
      </p:sp>
    </p:spTree>
    <p:extLst>
      <p:ext uri="{BB962C8B-B14F-4D97-AF65-F5344CB8AC3E}">
        <p14:creationId xmlns:p14="http://schemas.microsoft.com/office/powerpoint/2010/main" val="3487089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500" fill="hold"/>
                                        <p:tgtEl>
                                          <p:spTgt spid="4"/>
                                        </p:tgtEl>
                                        <p:attrNameLst>
                                          <p:attrName>ppt_x</p:attrName>
                                        </p:attrNameLst>
                                      </p:cBhvr>
                                      <p:tavLst>
                                        <p:tav tm="0">
                                          <p:val>
                                            <p:strVal val="0-#ppt_w/2"/>
                                          </p:val>
                                        </p:tav>
                                        <p:tav tm="100000">
                                          <p:val>
                                            <p:strVal val="#ppt_x"/>
                                          </p:val>
                                        </p:tav>
                                      </p:tavLst>
                                    </p:anim>
                                    <p:anim calcmode="lin" valueType="num">
                                      <p:cBhvr additive="base">
                                        <p:cTn id="8" dur="15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10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500" fill="hold"/>
                                        <p:tgtEl>
                                          <p:spTgt spid="3"/>
                                        </p:tgtEl>
                                        <p:attrNameLst>
                                          <p:attrName>ppt_x</p:attrName>
                                        </p:attrNameLst>
                                      </p:cBhvr>
                                      <p:tavLst>
                                        <p:tav tm="0">
                                          <p:val>
                                            <p:strVal val="0-#ppt_w/2"/>
                                          </p:val>
                                        </p:tav>
                                        <p:tav tm="100000">
                                          <p:val>
                                            <p:strVal val="#ppt_x"/>
                                          </p:val>
                                        </p:tav>
                                      </p:tavLst>
                                    </p:anim>
                                    <p:anim calcmode="lin" valueType="num">
                                      <p:cBhvr additive="base">
                                        <p:cTn id="12" dur="15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20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500" fill="hold"/>
                                        <p:tgtEl>
                                          <p:spTgt spid="2"/>
                                        </p:tgtEl>
                                        <p:attrNameLst>
                                          <p:attrName>ppt_x</p:attrName>
                                        </p:attrNameLst>
                                      </p:cBhvr>
                                      <p:tavLst>
                                        <p:tav tm="0">
                                          <p:val>
                                            <p:strVal val="0-#ppt_w/2"/>
                                          </p:val>
                                        </p:tav>
                                        <p:tav tm="100000">
                                          <p:val>
                                            <p:strVal val="#ppt_x"/>
                                          </p:val>
                                        </p:tav>
                                      </p:tavLst>
                                    </p:anim>
                                    <p:anim calcmode="lin" valueType="num">
                                      <p:cBhvr additive="base">
                                        <p:cTn id="16" dur="1500" fill="hold"/>
                                        <p:tgtEl>
                                          <p:spTgt spid="2"/>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30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1500" fill="hold"/>
                                        <p:tgtEl>
                                          <p:spTgt spid="28"/>
                                        </p:tgtEl>
                                        <p:attrNameLst>
                                          <p:attrName>ppt_x</p:attrName>
                                        </p:attrNameLst>
                                      </p:cBhvr>
                                      <p:tavLst>
                                        <p:tav tm="0">
                                          <p:val>
                                            <p:strVal val="0-#ppt_w/2"/>
                                          </p:val>
                                        </p:tav>
                                        <p:tav tm="100000">
                                          <p:val>
                                            <p:strVal val="#ppt_x"/>
                                          </p:val>
                                        </p:tav>
                                      </p:tavLst>
                                    </p:anim>
                                    <p:anim calcmode="lin" valueType="num">
                                      <p:cBhvr additive="base">
                                        <p:cTn id="20" dur="1500" fill="hold"/>
                                        <p:tgtEl>
                                          <p:spTgt spid="28"/>
                                        </p:tgtEl>
                                        <p:attrNameLst>
                                          <p:attrName>ppt_y</p:attrName>
                                        </p:attrNameLst>
                                      </p:cBhvr>
                                      <p:tavLst>
                                        <p:tav tm="0">
                                          <p:val>
                                            <p:strVal val="#ppt_y"/>
                                          </p:val>
                                        </p:tav>
                                        <p:tav tm="100000">
                                          <p:val>
                                            <p:strVal val="#ppt_y"/>
                                          </p:val>
                                        </p:tav>
                                      </p:tavLst>
                                    </p:anim>
                                  </p:childTnLst>
                                </p:cTn>
                              </p:par>
                              <p:par>
                                <p:cTn id="21" presetID="2" presetClass="entr" presetSubtype="1" decel="100000" fill="hold" nodeType="withEffect">
                                  <p:stCondLst>
                                    <p:cond delay="150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1500" fill="hold"/>
                                        <p:tgtEl>
                                          <p:spTgt spid="27"/>
                                        </p:tgtEl>
                                        <p:attrNameLst>
                                          <p:attrName>ppt_x</p:attrName>
                                        </p:attrNameLst>
                                      </p:cBhvr>
                                      <p:tavLst>
                                        <p:tav tm="0">
                                          <p:val>
                                            <p:strVal val="#ppt_x"/>
                                          </p:val>
                                        </p:tav>
                                        <p:tav tm="100000">
                                          <p:val>
                                            <p:strVal val="#ppt_x"/>
                                          </p:val>
                                        </p:tav>
                                      </p:tavLst>
                                    </p:anim>
                                    <p:anim calcmode="lin" valueType="num">
                                      <p:cBhvr additive="base">
                                        <p:cTn id="24" dur="1500" fill="hold"/>
                                        <p:tgtEl>
                                          <p:spTgt spid="27"/>
                                        </p:tgtEl>
                                        <p:attrNameLst>
                                          <p:attrName>ppt_y</p:attrName>
                                        </p:attrNameLst>
                                      </p:cBhvr>
                                      <p:tavLst>
                                        <p:tav tm="0">
                                          <p:val>
                                            <p:strVal val="0-#ppt_h/2"/>
                                          </p:val>
                                        </p:tav>
                                        <p:tav tm="100000">
                                          <p:val>
                                            <p:strVal val="#ppt_y"/>
                                          </p:val>
                                        </p:tav>
                                      </p:tavLst>
                                    </p:anim>
                                  </p:childTnLst>
                                </p:cTn>
                              </p:par>
                              <p:par>
                                <p:cTn id="25" presetID="2" presetClass="entr" presetSubtype="1" decel="100000" fill="hold" grpId="0" nodeType="withEffect">
                                  <p:stCondLst>
                                    <p:cond delay="1700"/>
                                  </p:stCondLst>
                                  <p:childTnLst>
                                    <p:set>
                                      <p:cBhvr>
                                        <p:cTn id="26" dur="1" fill="hold">
                                          <p:stCondLst>
                                            <p:cond delay="0"/>
                                          </p:stCondLst>
                                        </p:cTn>
                                        <p:tgtEl>
                                          <p:spTgt spid="49"/>
                                        </p:tgtEl>
                                        <p:attrNameLst>
                                          <p:attrName>style.visibility</p:attrName>
                                        </p:attrNameLst>
                                      </p:cBhvr>
                                      <p:to>
                                        <p:strVal val="visible"/>
                                      </p:to>
                                    </p:set>
                                    <p:anim calcmode="lin" valueType="num">
                                      <p:cBhvr additive="base">
                                        <p:cTn id="27" dur="1500" fill="hold"/>
                                        <p:tgtEl>
                                          <p:spTgt spid="49"/>
                                        </p:tgtEl>
                                        <p:attrNameLst>
                                          <p:attrName>ppt_x</p:attrName>
                                        </p:attrNameLst>
                                      </p:cBhvr>
                                      <p:tavLst>
                                        <p:tav tm="0">
                                          <p:val>
                                            <p:strVal val="#ppt_x"/>
                                          </p:val>
                                        </p:tav>
                                        <p:tav tm="100000">
                                          <p:val>
                                            <p:strVal val="#ppt_x"/>
                                          </p:val>
                                        </p:tav>
                                      </p:tavLst>
                                    </p:anim>
                                    <p:anim calcmode="lin" valueType="num">
                                      <p:cBhvr additive="base">
                                        <p:cTn id="28" dur="1500" fill="hold"/>
                                        <p:tgtEl>
                                          <p:spTgt spid="49"/>
                                        </p:tgtEl>
                                        <p:attrNameLst>
                                          <p:attrName>ppt_y</p:attrName>
                                        </p:attrNameLst>
                                      </p:cBhvr>
                                      <p:tavLst>
                                        <p:tav tm="0">
                                          <p:val>
                                            <p:strVal val="0-#ppt_h/2"/>
                                          </p:val>
                                        </p:tav>
                                        <p:tav tm="100000">
                                          <p:val>
                                            <p:strVal val="#ppt_y"/>
                                          </p:val>
                                        </p:tav>
                                      </p:tavLst>
                                    </p:anim>
                                  </p:childTnLst>
                                </p:cTn>
                              </p:par>
                              <p:par>
                                <p:cTn id="29" presetID="2" presetClass="entr" presetSubtype="1" decel="100000" fill="hold" grpId="0" nodeType="withEffect">
                                  <p:stCondLst>
                                    <p:cond delay="1800"/>
                                  </p:stCondLst>
                                  <p:childTnLst>
                                    <p:set>
                                      <p:cBhvr>
                                        <p:cTn id="30" dur="1" fill="hold">
                                          <p:stCondLst>
                                            <p:cond delay="0"/>
                                          </p:stCondLst>
                                        </p:cTn>
                                        <p:tgtEl>
                                          <p:spTgt spid="50"/>
                                        </p:tgtEl>
                                        <p:attrNameLst>
                                          <p:attrName>style.visibility</p:attrName>
                                        </p:attrNameLst>
                                      </p:cBhvr>
                                      <p:to>
                                        <p:strVal val="visible"/>
                                      </p:to>
                                    </p:set>
                                    <p:anim calcmode="lin" valueType="num">
                                      <p:cBhvr additive="base">
                                        <p:cTn id="31" dur="1500" fill="hold"/>
                                        <p:tgtEl>
                                          <p:spTgt spid="50"/>
                                        </p:tgtEl>
                                        <p:attrNameLst>
                                          <p:attrName>ppt_x</p:attrName>
                                        </p:attrNameLst>
                                      </p:cBhvr>
                                      <p:tavLst>
                                        <p:tav tm="0">
                                          <p:val>
                                            <p:strVal val="#ppt_x"/>
                                          </p:val>
                                        </p:tav>
                                        <p:tav tm="100000">
                                          <p:val>
                                            <p:strVal val="#ppt_x"/>
                                          </p:val>
                                        </p:tav>
                                      </p:tavLst>
                                    </p:anim>
                                    <p:anim calcmode="lin" valueType="num">
                                      <p:cBhvr additive="base">
                                        <p:cTn id="32" dur="1500" fill="hold"/>
                                        <p:tgtEl>
                                          <p:spTgt spid="50"/>
                                        </p:tgtEl>
                                        <p:attrNameLst>
                                          <p:attrName>ppt_y</p:attrName>
                                        </p:attrNameLst>
                                      </p:cBhvr>
                                      <p:tavLst>
                                        <p:tav tm="0">
                                          <p:val>
                                            <p:strVal val="0-#ppt_h/2"/>
                                          </p:val>
                                        </p:tav>
                                        <p:tav tm="100000">
                                          <p:val>
                                            <p:strVal val="#ppt_y"/>
                                          </p:val>
                                        </p:tav>
                                      </p:tavLst>
                                    </p:anim>
                                  </p:childTnLst>
                                </p:cTn>
                              </p:par>
                              <p:par>
                                <p:cTn id="33" presetID="2" presetClass="entr" presetSubtype="1" decel="100000" fill="hold" grpId="0" nodeType="withEffect">
                                  <p:stCondLst>
                                    <p:cond delay="1900"/>
                                  </p:stCondLst>
                                  <p:childTnLst>
                                    <p:set>
                                      <p:cBhvr>
                                        <p:cTn id="34" dur="1" fill="hold">
                                          <p:stCondLst>
                                            <p:cond delay="0"/>
                                          </p:stCondLst>
                                        </p:cTn>
                                        <p:tgtEl>
                                          <p:spTgt spid="47"/>
                                        </p:tgtEl>
                                        <p:attrNameLst>
                                          <p:attrName>style.visibility</p:attrName>
                                        </p:attrNameLst>
                                      </p:cBhvr>
                                      <p:to>
                                        <p:strVal val="visible"/>
                                      </p:to>
                                    </p:set>
                                    <p:anim calcmode="lin" valueType="num">
                                      <p:cBhvr additive="base">
                                        <p:cTn id="35" dur="1500" fill="hold"/>
                                        <p:tgtEl>
                                          <p:spTgt spid="47"/>
                                        </p:tgtEl>
                                        <p:attrNameLst>
                                          <p:attrName>ppt_x</p:attrName>
                                        </p:attrNameLst>
                                      </p:cBhvr>
                                      <p:tavLst>
                                        <p:tav tm="0">
                                          <p:val>
                                            <p:strVal val="#ppt_x"/>
                                          </p:val>
                                        </p:tav>
                                        <p:tav tm="100000">
                                          <p:val>
                                            <p:strVal val="#ppt_x"/>
                                          </p:val>
                                        </p:tav>
                                      </p:tavLst>
                                    </p:anim>
                                    <p:anim calcmode="lin" valueType="num">
                                      <p:cBhvr additive="base">
                                        <p:cTn id="36" dur="1500" fill="hold"/>
                                        <p:tgtEl>
                                          <p:spTgt spid="47"/>
                                        </p:tgtEl>
                                        <p:attrNameLst>
                                          <p:attrName>ppt_y</p:attrName>
                                        </p:attrNameLst>
                                      </p:cBhvr>
                                      <p:tavLst>
                                        <p:tav tm="0">
                                          <p:val>
                                            <p:strVal val="0-#ppt_h/2"/>
                                          </p:val>
                                        </p:tav>
                                        <p:tav tm="100000">
                                          <p:val>
                                            <p:strVal val="#ppt_y"/>
                                          </p:val>
                                        </p:tav>
                                      </p:tavLst>
                                    </p:anim>
                                  </p:childTnLst>
                                </p:cTn>
                              </p:par>
                              <p:par>
                                <p:cTn id="37" presetID="2" presetClass="entr" presetSubtype="1" decel="100000" fill="hold" grpId="0" nodeType="withEffect">
                                  <p:stCondLst>
                                    <p:cond delay="2000"/>
                                  </p:stCondLst>
                                  <p:childTnLst>
                                    <p:set>
                                      <p:cBhvr>
                                        <p:cTn id="38" dur="1" fill="hold">
                                          <p:stCondLst>
                                            <p:cond delay="0"/>
                                          </p:stCondLst>
                                        </p:cTn>
                                        <p:tgtEl>
                                          <p:spTgt spid="46"/>
                                        </p:tgtEl>
                                        <p:attrNameLst>
                                          <p:attrName>style.visibility</p:attrName>
                                        </p:attrNameLst>
                                      </p:cBhvr>
                                      <p:to>
                                        <p:strVal val="visible"/>
                                      </p:to>
                                    </p:set>
                                    <p:anim calcmode="lin" valueType="num">
                                      <p:cBhvr additive="base">
                                        <p:cTn id="39" dur="1500" fill="hold"/>
                                        <p:tgtEl>
                                          <p:spTgt spid="46"/>
                                        </p:tgtEl>
                                        <p:attrNameLst>
                                          <p:attrName>ppt_x</p:attrName>
                                        </p:attrNameLst>
                                      </p:cBhvr>
                                      <p:tavLst>
                                        <p:tav tm="0">
                                          <p:val>
                                            <p:strVal val="#ppt_x"/>
                                          </p:val>
                                        </p:tav>
                                        <p:tav tm="100000">
                                          <p:val>
                                            <p:strVal val="#ppt_x"/>
                                          </p:val>
                                        </p:tav>
                                      </p:tavLst>
                                    </p:anim>
                                    <p:anim calcmode="lin" valueType="num">
                                      <p:cBhvr additive="base">
                                        <p:cTn id="40" dur="1500" fill="hold"/>
                                        <p:tgtEl>
                                          <p:spTgt spid="46"/>
                                        </p:tgtEl>
                                        <p:attrNameLst>
                                          <p:attrName>ppt_y</p:attrName>
                                        </p:attrNameLst>
                                      </p:cBhvr>
                                      <p:tavLst>
                                        <p:tav tm="0">
                                          <p:val>
                                            <p:strVal val="0-#ppt_h/2"/>
                                          </p:val>
                                        </p:tav>
                                        <p:tav tm="100000">
                                          <p:val>
                                            <p:strVal val="#ppt_y"/>
                                          </p:val>
                                        </p:tav>
                                      </p:tavLst>
                                    </p:anim>
                                  </p:childTnLst>
                                </p:cTn>
                              </p:par>
                              <p:par>
                                <p:cTn id="41" presetID="2" presetClass="entr" presetSubtype="1" decel="100000" fill="hold" grpId="0" nodeType="withEffect">
                                  <p:stCondLst>
                                    <p:cond delay="2100"/>
                                  </p:stCondLst>
                                  <p:childTnLst>
                                    <p:set>
                                      <p:cBhvr>
                                        <p:cTn id="42" dur="1" fill="hold">
                                          <p:stCondLst>
                                            <p:cond delay="0"/>
                                          </p:stCondLst>
                                        </p:cTn>
                                        <p:tgtEl>
                                          <p:spTgt spid="48"/>
                                        </p:tgtEl>
                                        <p:attrNameLst>
                                          <p:attrName>style.visibility</p:attrName>
                                        </p:attrNameLst>
                                      </p:cBhvr>
                                      <p:to>
                                        <p:strVal val="visible"/>
                                      </p:to>
                                    </p:set>
                                    <p:anim calcmode="lin" valueType="num">
                                      <p:cBhvr additive="base">
                                        <p:cTn id="43" dur="1500" fill="hold"/>
                                        <p:tgtEl>
                                          <p:spTgt spid="48"/>
                                        </p:tgtEl>
                                        <p:attrNameLst>
                                          <p:attrName>ppt_x</p:attrName>
                                        </p:attrNameLst>
                                      </p:cBhvr>
                                      <p:tavLst>
                                        <p:tav tm="0">
                                          <p:val>
                                            <p:strVal val="#ppt_x"/>
                                          </p:val>
                                        </p:tav>
                                        <p:tav tm="100000">
                                          <p:val>
                                            <p:strVal val="#ppt_x"/>
                                          </p:val>
                                        </p:tav>
                                      </p:tavLst>
                                    </p:anim>
                                    <p:anim calcmode="lin" valueType="num">
                                      <p:cBhvr additive="base">
                                        <p:cTn id="44" dur="1500" fill="hold"/>
                                        <p:tgtEl>
                                          <p:spTgt spid="48"/>
                                        </p:tgtEl>
                                        <p:attrNameLst>
                                          <p:attrName>ppt_y</p:attrName>
                                        </p:attrNameLst>
                                      </p:cBhvr>
                                      <p:tavLst>
                                        <p:tav tm="0">
                                          <p:val>
                                            <p:strVal val="0-#ppt_h/2"/>
                                          </p:val>
                                        </p:tav>
                                        <p:tav tm="100000">
                                          <p:val>
                                            <p:strVal val="#ppt_y"/>
                                          </p:val>
                                        </p:tav>
                                      </p:tavLst>
                                    </p:anim>
                                  </p:childTnLst>
                                </p:cTn>
                              </p:par>
                              <p:par>
                                <p:cTn id="45" presetID="10" presetClass="entr" presetSubtype="0" fill="hold" grpId="0" nodeType="withEffect">
                                  <p:stCondLst>
                                    <p:cond delay="2100"/>
                                  </p:stCondLst>
                                  <p:childTnLst>
                                    <p:set>
                                      <p:cBhvr>
                                        <p:cTn id="46" dur="1" fill="hold">
                                          <p:stCondLst>
                                            <p:cond delay="0"/>
                                          </p:stCondLst>
                                        </p:cTn>
                                        <p:tgtEl>
                                          <p:spTgt spid="65"/>
                                        </p:tgtEl>
                                        <p:attrNameLst>
                                          <p:attrName>style.visibility</p:attrName>
                                        </p:attrNameLst>
                                      </p:cBhvr>
                                      <p:to>
                                        <p:strVal val="visible"/>
                                      </p:to>
                                    </p:set>
                                    <p:animEffect transition="in" filter="fade">
                                      <p:cBhvr>
                                        <p:cTn id="47" dur="500"/>
                                        <p:tgtEl>
                                          <p:spTgt spid="65"/>
                                        </p:tgtEl>
                                      </p:cBhvr>
                                    </p:animEffect>
                                  </p:childTnLst>
                                </p:cTn>
                              </p:par>
                              <p:par>
                                <p:cTn id="48" presetID="10" presetClass="entr" presetSubtype="0" fill="hold" grpId="0" nodeType="withEffect">
                                  <p:stCondLst>
                                    <p:cond delay="100"/>
                                  </p:stCondLst>
                                  <p:childTnLst>
                                    <p:set>
                                      <p:cBhvr>
                                        <p:cTn id="49" dur="1" fill="hold">
                                          <p:stCondLst>
                                            <p:cond delay="0"/>
                                          </p:stCondLst>
                                        </p:cTn>
                                        <p:tgtEl>
                                          <p:spTgt spid="67"/>
                                        </p:tgtEl>
                                        <p:attrNameLst>
                                          <p:attrName>style.visibility</p:attrName>
                                        </p:attrNameLst>
                                      </p:cBhvr>
                                      <p:to>
                                        <p:strVal val="visible"/>
                                      </p:to>
                                    </p:set>
                                    <p:animEffect transition="in" filter="fade">
                                      <p:cBhvr>
                                        <p:cTn id="50" dur="300"/>
                                        <p:tgtEl>
                                          <p:spTgt spid="67"/>
                                        </p:tgtEl>
                                      </p:cBhvr>
                                    </p:animEffect>
                                  </p:childTnLst>
                                </p:cTn>
                              </p:par>
                              <p:par>
                                <p:cTn id="51" presetID="22" presetClass="entr" presetSubtype="8" fill="hold" nodeType="withEffect">
                                  <p:stCondLst>
                                    <p:cond delay="200"/>
                                  </p:stCondLst>
                                  <p:childTnLst>
                                    <p:set>
                                      <p:cBhvr>
                                        <p:cTn id="52" dur="1" fill="hold">
                                          <p:stCondLst>
                                            <p:cond delay="0"/>
                                          </p:stCondLst>
                                        </p:cTn>
                                        <p:tgtEl>
                                          <p:spTgt spid="68"/>
                                        </p:tgtEl>
                                        <p:attrNameLst>
                                          <p:attrName>style.visibility</p:attrName>
                                        </p:attrNameLst>
                                      </p:cBhvr>
                                      <p:to>
                                        <p:strVal val="visible"/>
                                      </p:to>
                                    </p:set>
                                    <p:animEffect transition="in" filter="wipe(left)">
                                      <p:cBhvr>
                                        <p:cTn id="53" dur="500"/>
                                        <p:tgtEl>
                                          <p:spTgt spid="68"/>
                                        </p:tgtEl>
                                      </p:cBhvr>
                                    </p:animEffect>
                                  </p:childTnLst>
                                </p:cTn>
                              </p:par>
                              <p:par>
                                <p:cTn id="54" presetID="10" presetClass="entr" presetSubtype="0" fill="hold" grpId="0" nodeType="withEffect">
                                  <p:stCondLst>
                                    <p:cond delay="500"/>
                                  </p:stCondLst>
                                  <p:childTnLst>
                                    <p:set>
                                      <p:cBhvr>
                                        <p:cTn id="55" dur="1" fill="hold">
                                          <p:stCondLst>
                                            <p:cond delay="0"/>
                                          </p:stCondLst>
                                        </p:cTn>
                                        <p:tgtEl>
                                          <p:spTgt spid="70"/>
                                        </p:tgtEl>
                                        <p:attrNameLst>
                                          <p:attrName>style.visibility</p:attrName>
                                        </p:attrNameLst>
                                      </p:cBhvr>
                                      <p:to>
                                        <p:strVal val="visible"/>
                                      </p:to>
                                    </p:set>
                                    <p:animEffect transition="in" filter="fade">
                                      <p:cBhvr>
                                        <p:cTn id="56" dur="300"/>
                                        <p:tgtEl>
                                          <p:spTgt spid="70"/>
                                        </p:tgtEl>
                                      </p:cBhvr>
                                    </p:animEffect>
                                  </p:childTnLst>
                                </p:cTn>
                              </p:par>
                            </p:childTnLst>
                          </p:cTn>
                        </p:par>
                        <p:par>
                          <p:cTn id="57" fill="hold">
                            <p:stCondLst>
                              <p:cond delay="3600"/>
                            </p:stCondLst>
                            <p:childTnLst>
                              <p:par>
                                <p:cTn id="58" presetID="2" presetClass="entr" presetSubtype="4" decel="100000" fill="hold" nodeType="afterEffect">
                                  <p:stCondLst>
                                    <p:cond delay="0"/>
                                  </p:stCondLst>
                                  <p:childTnLst>
                                    <p:set>
                                      <p:cBhvr>
                                        <p:cTn id="59" dur="1" fill="hold">
                                          <p:stCondLst>
                                            <p:cond delay="0"/>
                                          </p:stCondLst>
                                        </p:cTn>
                                        <p:tgtEl>
                                          <p:spTgt spid="60"/>
                                        </p:tgtEl>
                                        <p:attrNameLst>
                                          <p:attrName>style.visibility</p:attrName>
                                        </p:attrNameLst>
                                      </p:cBhvr>
                                      <p:to>
                                        <p:strVal val="visible"/>
                                      </p:to>
                                    </p:set>
                                    <p:anim calcmode="lin" valueType="num">
                                      <p:cBhvr additive="base">
                                        <p:cTn id="60" dur="1500" fill="hold"/>
                                        <p:tgtEl>
                                          <p:spTgt spid="60"/>
                                        </p:tgtEl>
                                        <p:attrNameLst>
                                          <p:attrName>ppt_x</p:attrName>
                                        </p:attrNameLst>
                                      </p:cBhvr>
                                      <p:tavLst>
                                        <p:tav tm="0">
                                          <p:val>
                                            <p:strVal val="#ppt_x"/>
                                          </p:val>
                                        </p:tav>
                                        <p:tav tm="100000">
                                          <p:val>
                                            <p:strVal val="#ppt_x"/>
                                          </p:val>
                                        </p:tav>
                                      </p:tavLst>
                                    </p:anim>
                                    <p:anim calcmode="lin" valueType="num">
                                      <p:cBhvr additive="base">
                                        <p:cTn id="61" dur="1500" fill="hold"/>
                                        <p:tgtEl>
                                          <p:spTgt spid="60"/>
                                        </p:tgtEl>
                                        <p:attrNameLst>
                                          <p:attrName>ppt_y</p:attrName>
                                        </p:attrNameLst>
                                      </p:cBhvr>
                                      <p:tavLst>
                                        <p:tav tm="0">
                                          <p:val>
                                            <p:strVal val="1+#ppt_h/2"/>
                                          </p:val>
                                        </p:tav>
                                        <p:tav tm="100000">
                                          <p:val>
                                            <p:strVal val="#ppt_y"/>
                                          </p:val>
                                        </p:tav>
                                      </p:tavLst>
                                    </p:anim>
                                  </p:childTnLst>
                                </p:cTn>
                              </p:par>
                              <p:par>
                                <p:cTn id="62" presetID="2" presetClass="entr" presetSubtype="4" decel="100000" fill="hold" grpId="0" nodeType="withEffect">
                                  <p:stCondLst>
                                    <p:cond delay="0"/>
                                  </p:stCondLst>
                                  <p:childTnLst>
                                    <p:set>
                                      <p:cBhvr>
                                        <p:cTn id="63" dur="1" fill="hold">
                                          <p:stCondLst>
                                            <p:cond delay="0"/>
                                          </p:stCondLst>
                                        </p:cTn>
                                        <p:tgtEl>
                                          <p:spTgt spid="42"/>
                                        </p:tgtEl>
                                        <p:attrNameLst>
                                          <p:attrName>style.visibility</p:attrName>
                                        </p:attrNameLst>
                                      </p:cBhvr>
                                      <p:to>
                                        <p:strVal val="visible"/>
                                      </p:to>
                                    </p:set>
                                    <p:anim calcmode="lin" valueType="num">
                                      <p:cBhvr additive="base">
                                        <p:cTn id="64" dur="1500" fill="hold"/>
                                        <p:tgtEl>
                                          <p:spTgt spid="42"/>
                                        </p:tgtEl>
                                        <p:attrNameLst>
                                          <p:attrName>ppt_x</p:attrName>
                                        </p:attrNameLst>
                                      </p:cBhvr>
                                      <p:tavLst>
                                        <p:tav tm="0">
                                          <p:val>
                                            <p:strVal val="#ppt_x"/>
                                          </p:val>
                                        </p:tav>
                                        <p:tav tm="100000">
                                          <p:val>
                                            <p:strVal val="#ppt_x"/>
                                          </p:val>
                                        </p:tav>
                                      </p:tavLst>
                                    </p:anim>
                                    <p:anim calcmode="lin" valueType="num">
                                      <p:cBhvr additive="base">
                                        <p:cTn id="65" dur="1500" fill="hold"/>
                                        <p:tgtEl>
                                          <p:spTgt spid="42"/>
                                        </p:tgtEl>
                                        <p:attrNameLst>
                                          <p:attrName>ppt_y</p:attrName>
                                        </p:attrNameLst>
                                      </p:cBhvr>
                                      <p:tavLst>
                                        <p:tav tm="0">
                                          <p:val>
                                            <p:strVal val="1+#ppt_h/2"/>
                                          </p:val>
                                        </p:tav>
                                        <p:tav tm="100000">
                                          <p:val>
                                            <p:strVal val="#ppt_y"/>
                                          </p:val>
                                        </p:tav>
                                      </p:tavLst>
                                    </p:anim>
                                  </p:childTnLst>
                                </p:cTn>
                              </p:par>
                              <p:par>
                                <p:cTn id="66" presetID="10" presetClass="entr" presetSubtype="0" fill="hold" grpId="0" nodeType="withEffect">
                                  <p:stCondLst>
                                    <p:cond delay="500"/>
                                  </p:stCondLst>
                                  <p:childTnLst>
                                    <p:set>
                                      <p:cBhvr>
                                        <p:cTn id="67" dur="1" fill="hold">
                                          <p:stCondLst>
                                            <p:cond delay="0"/>
                                          </p:stCondLst>
                                        </p:cTn>
                                        <p:tgtEl>
                                          <p:spTgt spid="66"/>
                                        </p:tgtEl>
                                        <p:attrNameLst>
                                          <p:attrName>style.visibility</p:attrName>
                                        </p:attrNameLst>
                                      </p:cBhvr>
                                      <p:to>
                                        <p:strVal val="visible"/>
                                      </p:to>
                                    </p:set>
                                    <p:animEffect transition="in" filter="fade">
                                      <p:cBhvr>
                                        <p:cTn id="68" dur="500"/>
                                        <p:tgtEl>
                                          <p:spTgt spid="66"/>
                                        </p:tgtEl>
                                      </p:cBhvr>
                                    </p:animEffect>
                                  </p:childTnLst>
                                </p:cTn>
                              </p:par>
                              <p:par>
                                <p:cTn id="69" presetID="10" presetClass="entr" presetSubtype="0" fill="hold" grpId="0" nodeType="withEffect">
                                  <p:stCondLst>
                                    <p:cond delay="200"/>
                                  </p:stCondLst>
                                  <p:childTnLst>
                                    <p:set>
                                      <p:cBhvr>
                                        <p:cTn id="70" dur="1" fill="hold">
                                          <p:stCondLst>
                                            <p:cond delay="0"/>
                                          </p:stCondLst>
                                        </p:cTn>
                                        <p:tgtEl>
                                          <p:spTgt spid="71"/>
                                        </p:tgtEl>
                                        <p:attrNameLst>
                                          <p:attrName>style.visibility</p:attrName>
                                        </p:attrNameLst>
                                      </p:cBhvr>
                                      <p:to>
                                        <p:strVal val="visible"/>
                                      </p:to>
                                    </p:set>
                                    <p:animEffect transition="in" filter="fade">
                                      <p:cBhvr>
                                        <p:cTn id="71" dur="300"/>
                                        <p:tgtEl>
                                          <p:spTgt spid="71"/>
                                        </p:tgtEl>
                                      </p:cBhvr>
                                    </p:animEffect>
                                  </p:childTnLst>
                                </p:cTn>
                              </p:par>
                              <p:par>
                                <p:cTn id="72" presetID="22" presetClass="entr" presetSubtype="8" fill="hold" nodeType="withEffect">
                                  <p:stCondLst>
                                    <p:cond delay="300"/>
                                  </p:stCondLst>
                                  <p:childTnLst>
                                    <p:set>
                                      <p:cBhvr>
                                        <p:cTn id="73" dur="1" fill="hold">
                                          <p:stCondLst>
                                            <p:cond delay="0"/>
                                          </p:stCondLst>
                                        </p:cTn>
                                        <p:tgtEl>
                                          <p:spTgt spid="72"/>
                                        </p:tgtEl>
                                        <p:attrNameLst>
                                          <p:attrName>style.visibility</p:attrName>
                                        </p:attrNameLst>
                                      </p:cBhvr>
                                      <p:to>
                                        <p:strVal val="visible"/>
                                      </p:to>
                                    </p:set>
                                    <p:animEffect transition="in" filter="wipe(left)">
                                      <p:cBhvr>
                                        <p:cTn id="74" dur="500"/>
                                        <p:tgtEl>
                                          <p:spTgt spid="72"/>
                                        </p:tgtEl>
                                      </p:cBhvr>
                                    </p:animEffect>
                                  </p:childTnLst>
                                </p:cTn>
                              </p:par>
                              <p:par>
                                <p:cTn id="75" presetID="10" presetClass="entr" presetSubtype="0" fill="hold" grpId="0" nodeType="withEffect">
                                  <p:stCondLst>
                                    <p:cond delay="600"/>
                                  </p:stCondLst>
                                  <p:childTnLst>
                                    <p:set>
                                      <p:cBhvr>
                                        <p:cTn id="76" dur="1" fill="hold">
                                          <p:stCondLst>
                                            <p:cond delay="0"/>
                                          </p:stCondLst>
                                        </p:cTn>
                                        <p:tgtEl>
                                          <p:spTgt spid="74"/>
                                        </p:tgtEl>
                                        <p:attrNameLst>
                                          <p:attrName>style.visibility</p:attrName>
                                        </p:attrNameLst>
                                      </p:cBhvr>
                                      <p:to>
                                        <p:strVal val="visible"/>
                                      </p:to>
                                    </p:set>
                                    <p:animEffect transition="in" filter="fade">
                                      <p:cBhvr>
                                        <p:cTn id="77" dur="3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2" grpId="0" animBg="1"/>
      <p:bldP spid="3" grpId="0" animBg="1"/>
      <p:bldP spid="46" grpId="0" animBg="1"/>
      <p:bldP spid="47" grpId="0" animBg="1"/>
      <p:bldP spid="48" grpId="0" animBg="1"/>
      <p:bldP spid="49" grpId="0" animBg="1"/>
      <p:bldP spid="50" grpId="0" animBg="1"/>
      <p:bldP spid="4" grpId="0" animBg="1"/>
      <p:bldP spid="65" grpId="0" animBg="1"/>
      <p:bldP spid="66" grpId="0" animBg="1"/>
      <p:bldP spid="67" grpId="0"/>
      <p:bldP spid="70" grpId="0"/>
      <p:bldP spid="71" grpId="0"/>
      <p:bldP spid="7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Freeform: Shape 88">
            <a:extLst>
              <a:ext uri="{FF2B5EF4-FFF2-40B4-BE49-F238E27FC236}">
                <a16:creationId xmlns:a16="http://schemas.microsoft.com/office/drawing/2014/main" id="{34F14132-CD82-460E-B923-61CFE7D83FBA}"/>
              </a:ext>
            </a:extLst>
          </p:cNvPr>
          <p:cNvSpPr/>
          <p:nvPr/>
        </p:nvSpPr>
        <p:spPr>
          <a:xfrm flipH="1">
            <a:off x="3268811" y="1908395"/>
            <a:ext cx="8229454" cy="4807612"/>
          </a:xfrm>
          <a:custGeom>
            <a:avLst/>
            <a:gdLst>
              <a:gd name="connsiteX0" fmla="*/ 7144 w 10125075"/>
              <a:gd name="connsiteY0" fmla="*/ 7733 h 5915025"/>
              <a:gd name="connsiteX1" fmla="*/ 3919061 w 10125075"/>
              <a:gd name="connsiteY1" fmla="*/ 1145018 h 5915025"/>
              <a:gd name="connsiteX2" fmla="*/ 6591776 w 10125075"/>
              <a:gd name="connsiteY2" fmla="*/ 4990260 h 5915025"/>
              <a:gd name="connsiteX3" fmla="*/ 10119836 w 10125075"/>
              <a:gd name="connsiteY3" fmla="*/ 5909423 h 5915025"/>
              <a:gd name="connsiteX4" fmla="*/ 7144 w 10125075"/>
              <a:gd name="connsiteY4" fmla="*/ 5909423 h 5915025"/>
              <a:gd name="connsiteX5" fmla="*/ 7144 w 10125075"/>
              <a:gd name="connsiteY5" fmla="*/ 7733 h 591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25075" h="5915025">
                <a:moveTo>
                  <a:pt x="7144" y="7733"/>
                </a:moveTo>
                <a:cubicBezTo>
                  <a:pt x="7144" y="7733"/>
                  <a:pt x="3112294" y="-56085"/>
                  <a:pt x="3919061" y="1145018"/>
                </a:cubicBezTo>
                <a:cubicBezTo>
                  <a:pt x="4725829" y="2346120"/>
                  <a:pt x="4461034" y="4187303"/>
                  <a:pt x="6591776" y="4990260"/>
                </a:cubicBezTo>
                <a:cubicBezTo>
                  <a:pt x="8722519" y="5793218"/>
                  <a:pt x="9035891" y="5909423"/>
                  <a:pt x="10119836" y="5909423"/>
                </a:cubicBezTo>
                <a:lnTo>
                  <a:pt x="7144" y="5909423"/>
                </a:lnTo>
                <a:lnTo>
                  <a:pt x="7144" y="7733"/>
                </a:lnTo>
                <a:close/>
              </a:path>
            </a:pathLst>
          </a:custGeom>
          <a:gradFill flip="none" rotWithShape="1">
            <a:gsLst>
              <a:gs pos="0">
                <a:schemeClr val="accent4"/>
              </a:gs>
              <a:gs pos="100000">
                <a:schemeClr val="accent3">
                  <a:lumMod val="60000"/>
                  <a:lumOff val="40000"/>
                </a:schemeClr>
              </a:gs>
            </a:gsLst>
            <a:path path="circle">
              <a:fillToRect r="100000" b="100000"/>
            </a:path>
            <a:tileRect l="-100000" t="-100000"/>
          </a:gradFill>
          <a:ln w="9525" cap="flat">
            <a:noFill/>
            <a:prstDash val="solid"/>
            <a:miter/>
          </a:ln>
          <a:effectLst>
            <a:outerShdw blurRad="635000" dist="190500" dir="12600000" algn="l" rotWithShape="0">
              <a:prstClr val="black">
                <a:alpha val="26000"/>
              </a:prstClr>
            </a:outerShdw>
          </a:effectLst>
        </p:spPr>
        <p:txBody>
          <a:bodyPr rtlCol="0" anchor="ctr"/>
          <a:lstStyle/>
          <a:p>
            <a:endParaRPr lang="nb-NO" sz="900"/>
          </a:p>
        </p:txBody>
      </p:sp>
      <p:sp>
        <p:nvSpPr>
          <p:cNvPr id="90" name="Freeform: Shape 89">
            <a:extLst>
              <a:ext uri="{FF2B5EF4-FFF2-40B4-BE49-F238E27FC236}">
                <a16:creationId xmlns:a16="http://schemas.microsoft.com/office/drawing/2014/main" id="{5ED02235-111B-4B3D-97CD-A526016F8C94}"/>
              </a:ext>
            </a:extLst>
          </p:cNvPr>
          <p:cNvSpPr/>
          <p:nvPr/>
        </p:nvSpPr>
        <p:spPr>
          <a:xfrm flipH="1">
            <a:off x="3741057" y="1095218"/>
            <a:ext cx="7757209" cy="5620493"/>
          </a:xfrm>
          <a:custGeom>
            <a:avLst/>
            <a:gdLst>
              <a:gd name="connsiteX0" fmla="*/ 7144 w 9544050"/>
              <a:gd name="connsiteY0" fmla="*/ 7144 h 6915150"/>
              <a:gd name="connsiteX1" fmla="*/ 3577114 w 9544050"/>
              <a:gd name="connsiteY1" fmla="*/ 3261836 h 6915150"/>
              <a:gd name="connsiteX2" fmla="*/ 9541669 w 9544050"/>
              <a:gd name="connsiteY2" fmla="*/ 6909912 h 6915150"/>
              <a:gd name="connsiteX3" fmla="*/ 7144 w 9544050"/>
              <a:gd name="connsiteY3" fmla="*/ 6909912 h 6915150"/>
              <a:gd name="connsiteX4" fmla="*/ 7144 w 9544050"/>
              <a:gd name="connsiteY4" fmla="*/ 7144 h 6915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44050" h="6915150">
                <a:moveTo>
                  <a:pt x="7144" y="7144"/>
                </a:moveTo>
                <a:cubicBezTo>
                  <a:pt x="7144" y="7144"/>
                  <a:pt x="2867501" y="1589246"/>
                  <a:pt x="3577114" y="3261836"/>
                </a:cubicBezTo>
                <a:cubicBezTo>
                  <a:pt x="4286726" y="4934426"/>
                  <a:pt x="5861209" y="6909912"/>
                  <a:pt x="9541669" y="6909912"/>
                </a:cubicBezTo>
                <a:lnTo>
                  <a:pt x="7144" y="6909912"/>
                </a:lnTo>
                <a:lnTo>
                  <a:pt x="7144" y="7144"/>
                </a:lnTo>
                <a:close/>
              </a:path>
            </a:pathLst>
          </a:custGeom>
          <a:gradFill>
            <a:gsLst>
              <a:gs pos="0">
                <a:schemeClr val="accent3"/>
              </a:gs>
              <a:gs pos="100000">
                <a:schemeClr val="accent3">
                  <a:lumMod val="50000"/>
                </a:schemeClr>
              </a:gs>
            </a:gsLst>
            <a:path path="circle">
              <a:fillToRect l="100000" t="100000"/>
            </a:path>
          </a:gradFill>
          <a:ln w="9525" cap="flat">
            <a:noFill/>
            <a:prstDash val="solid"/>
            <a:miter/>
          </a:ln>
          <a:effectLst>
            <a:outerShdw blurRad="635000" dist="190500" dir="12600000" algn="l" rotWithShape="0">
              <a:prstClr val="black">
                <a:alpha val="26000"/>
              </a:prstClr>
            </a:outerShdw>
          </a:effectLst>
        </p:spPr>
        <p:txBody>
          <a:bodyPr rtlCol="0" anchor="ctr"/>
          <a:lstStyle/>
          <a:p>
            <a:endParaRPr lang="nb-NO" sz="900"/>
          </a:p>
        </p:txBody>
      </p:sp>
      <p:sp>
        <p:nvSpPr>
          <p:cNvPr id="91" name="Freeform: Shape 90">
            <a:extLst>
              <a:ext uri="{FF2B5EF4-FFF2-40B4-BE49-F238E27FC236}">
                <a16:creationId xmlns:a16="http://schemas.microsoft.com/office/drawing/2014/main" id="{6313F2C0-264F-4558-A105-087C1D7AD8BF}"/>
              </a:ext>
            </a:extLst>
          </p:cNvPr>
          <p:cNvSpPr/>
          <p:nvPr/>
        </p:nvSpPr>
        <p:spPr>
          <a:xfrm flipH="1">
            <a:off x="4971991" y="1095218"/>
            <a:ext cx="6526275" cy="5620493"/>
          </a:xfrm>
          <a:custGeom>
            <a:avLst/>
            <a:gdLst>
              <a:gd name="connsiteX0" fmla="*/ 7144 w 8029575"/>
              <a:gd name="connsiteY0" fmla="*/ 7144 h 6915150"/>
              <a:gd name="connsiteX1" fmla="*/ 2443639 w 8029575"/>
              <a:gd name="connsiteY1" fmla="*/ 2543651 h 6915150"/>
              <a:gd name="connsiteX2" fmla="*/ 5032534 w 8029575"/>
              <a:gd name="connsiteY2" fmla="*/ 5502117 h 6915150"/>
              <a:gd name="connsiteX3" fmla="*/ 8024337 w 8029575"/>
              <a:gd name="connsiteY3" fmla="*/ 6909912 h 6915150"/>
              <a:gd name="connsiteX4" fmla="*/ 7144 w 8029575"/>
              <a:gd name="connsiteY4" fmla="*/ 6909912 h 6915150"/>
              <a:gd name="connsiteX5" fmla="*/ 7144 w 8029575"/>
              <a:gd name="connsiteY5" fmla="*/ 7144 h 691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29575" h="6915150">
                <a:moveTo>
                  <a:pt x="7144" y="7144"/>
                </a:moveTo>
                <a:cubicBezTo>
                  <a:pt x="7144" y="7144"/>
                  <a:pt x="2155031" y="118586"/>
                  <a:pt x="2443639" y="2543651"/>
                </a:cubicBezTo>
                <a:cubicBezTo>
                  <a:pt x="2732246" y="4968717"/>
                  <a:pt x="4145756" y="5364004"/>
                  <a:pt x="5032534" y="5502117"/>
                </a:cubicBezTo>
                <a:cubicBezTo>
                  <a:pt x="5919312" y="5640229"/>
                  <a:pt x="7590949" y="6323171"/>
                  <a:pt x="8024337" y="6909912"/>
                </a:cubicBezTo>
                <a:lnTo>
                  <a:pt x="7144" y="6909912"/>
                </a:lnTo>
                <a:lnTo>
                  <a:pt x="7144" y="7144"/>
                </a:lnTo>
                <a:close/>
              </a:path>
            </a:pathLst>
          </a:custGeom>
          <a:gradFill flip="none" rotWithShape="1">
            <a:gsLst>
              <a:gs pos="0">
                <a:schemeClr val="accent3"/>
              </a:gs>
              <a:gs pos="100000">
                <a:schemeClr val="accent4"/>
              </a:gs>
            </a:gsLst>
            <a:path path="circle">
              <a:fillToRect l="100000" t="100000"/>
            </a:path>
            <a:tileRect r="-100000" b="-100000"/>
          </a:gradFill>
          <a:ln w="9525" cap="flat">
            <a:noFill/>
            <a:prstDash val="solid"/>
            <a:miter/>
          </a:ln>
          <a:effectLst>
            <a:outerShdw blurRad="635000" dist="190500" dir="12600000" algn="l" rotWithShape="0">
              <a:prstClr val="black">
                <a:alpha val="26000"/>
              </a:prstClr>
            </a:outerShdw>
          </a:effectLst>
        </p:spPr>
        <p:txBody>
          <a:bodyPr rtlCol="0" anchor="ctr"/>
          <a:lstStyle/>
          <a:p>
            <a:endParaRPr lang="nb-NO" sz="900"/>
          </a:p>
        </p:txBody>
      </p:sp>
      <p:sp>
        <p:nvSpPr>
          <p:cNvPr id="92" name="Graphic 62">
            <a:extLst>
              <a:ext uri="{FF2B5EF4-FFF2-40B4-BE49-F238E27FC236}">
                <a16:creationId xmlns:a16="http://schemas.microsoft.com/office/drawing/2014/main" id="{E102B23E-2E29-4406-A3A7-60887433DD95}"/>
              </a:ext>
            </a:extLst>
          </p:cNvPr>
          <p:cNvSpPr/>
          <p:nvPr/>
        </p:nvSpPr>
        <p:spPr>
          <a:xfrm flipH="1">
            <a:off x="8180383" y="3185842"/>
            <a:ext cx="3317883" cy="3530165"/>
          </a:xfrm>
          <a:custGeom>
            <a:avLst/>
            <a:gdLst>
              <a:gd name="connsiteX0" fmla="*/ 7144 w 4019550"/>
              <a:gd name="connsiteY0" fmla="*/ 7144 h 4276725"/>
              <a:gd name="connsiteX1" fmla="*/ 1617821 w 4019550"/>
              <a:gd name="connsiteY1" fmla="*/ 2409349 h 4276725"/>
              <a:gd name="connsiteX2" fmla="*/ 4020979 w 4019550"/>
              <a:gd name="connsiteY2" fmla="*/ 4278154 h 4276725"/>
              <a:gd name="connsiteX3" fmla="*/ 7144 w 4019550"/>
              <a:gd name="connsiteY3" fmla="*/ 4278154 h 4276725"/>
              <a:gd name="connsiteX4" fmla="*/ 7144 w 4019550"/>
              <a:gd name="connsiteY4" fmla="*/ 7144 h 4276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550" h="4276725">
                <a:moveTo>
                  <a:pt x="7144" y="7144"/>
                </a:moveTo>
                <a:cubicBezTo>
                  <a:pt x="7144" y="7144"/>
                  <a:pt x="257651" y="1873091"/>
                  <a:pt x="1617821" y="2409349"/>
                </a:cubicBezTo>
                <a:cubicBezTo>
                  <a:pt x="2977991" y="2945606"/>
                  <a:pt x="3920014" y="3882866"/>
                  <a:pt x="4020979" y="4278154"/>
                </a:cubicBezTo>
                <a:lnTo>
                  <a:pt x="7144" y="4278154"/>
                </a:lnTo>
                <a:lnTo>
                  <a:pt x="7144" y="7144"/>
                </a:lnTo>
                <a:close/>
              </a:path>
            </a:pathLst>
          </a:custGeom>
          <a:gradFill flip="none" rotWithShape="1">
            <a:gsLst>
              <a:gs pos="0">
                <a:schemeClr val="accent4"/>
              </a:gs>
              <a:gs pos="100000">
                <a:schemeClr val="accent3">
                  <a:lumMod val="60000"/>
                  <a:lumOff val="40000"/>
                </a:schemeClr>
              </a:gs>
            </a:gsLst>
            <a:path path="circle">
              <a:fillToRect r="100000" b="100000"/>
            </a:path>
            <a:tileRect l="-100000" t="-100000"/>
          </a:gradFill>
          <a:ln w="9525" cap="flat">
            <a:noFill/>
            <a:prstDash val="solid"/>
            <a:miter/>
          </a:ln>
          <a:effectLst>
            <a:outerShdw blurRad="635000" dist="190500" dir="12600000" algn="l" rotWithShape="0">
              <a:prstClr val="black">
                <a:alpha val="26000"/>
              </a:prstClr>
            </a:outerShdw>
          </a:effectLst>
        </p:spPr>
        <p:txBody>
          <a:bodyPr rot="0" spcFirstLastPara="0" vertOverflow="overflow" horzOverflow="overflow" vert="horz" wrap="square" lIns="45714" tIns="22857" rIns="45714" bIns="22857" numCol="1" spcCol="0" rtlCol="0" fromWordArt="0" anchor="ctr" anchorCtr="0" forceAA="0" compatLnSpc="1">
            <a:prstTxWarp prst="textNoShape">
              <a:avLst/>
            </a:prstTxWarp>
            <a:noAutofit/>
          </a:bodyPr>
          <a:lstStyle/>
          <a:p>
            <a:endParaRPr lang="nb-NO" sz="900"/>
          </a:p>
        </p:txBody>
      </p:sp>
      <p:sp>
        <p:nvSpPr>
          <p:cNvPr id="46" name="Graphic 44">
            <a:extLst>
              <a:ext uri="{FF2B5EF4-FFF2-40B4-BE49-F238E27FC236}">
                <a16:creationId xmlns:a16="http://schemas.microsoft.com/office/drawing/2014/main" id="{10E6CFE5-DD41-4759-939E-F0AB619F8E96}"/>
              </a:ext>
            </a:extLst>
          </p:cNvPr>
          <p:cNvSpPr/>
          <p:nvPr/>
        </p:nvSpPr>
        <p:spPr>
          <a:xfrm>
            <a:off x="1130133" y="2813"/>
            <a:ext cx="11246656" cy="6863750"/>
          </a:xfrm>
          <a:custGeom>
            <a:avLst/>
            <a:gdLst>
              <a:gd name="connsiteX0" fmla="*/ 7144 w 16373475"/>
              <a:gd name="connsiteY0" fmla="*/ 7144 h 10296525"/>
              <a:gd name="connsiteX1" fmla="*/ 7144 w 16373475"/>
              <a:gd name="connsiteY1" fmla="*/ 10294144 h 10296525"/>
              <a:gd name="connsiteX2" fmla="*/ 16374904 w 16373475"/>
              <a:gd name="connsiteY2" fmla="*/ 10294144 h 10296525"/>
              <a:gd name="connsiteX3" fmla="*/ 16374904 w 16373475"/>
              <a:gd name="connsiteY3" fmla="*/ 7144 h 10296525"/>
              <a:gd name="connsiteX4" fmla="*/ 7144 w 16373475"/>
              <a:gd name="connsiteY4" fmla="*/ 7144 h 10296525"/>
              <a:gd name="connsiteX5" fmla="*/ 16137731 w 16373475"/>
              <a:gd name="connsiteY5" fmla="*/ 6657499 h 10296525"/>
              <a:gd name="connsiteX6" fmla="*/ 15638621 w 16373475"/>
              <a:gd name="connsiteY6" fmla="*/ 7650956 h 10296525"/>
              <a:gd name="connsiteX7" fmla="*/ 15129034 w 16373475"/>
              <a:gd name="connsiteY7" fmla="*/ 8134826 h 10296525"/>
              <a:gd name="connsiteX8" fmla="*/ 14506098 w 16373475"/>
              <a:gd name="connsiteY8" fmla="*/ 8425339 h 10296525"/>
              <a:gd name="connsiteX9" fmla="*/ 13053536 w 16373475"/>
              <a:gd name="connsiteY9" fmla="*/ 8555831 h 10296525"/>
              <a:gd name="connsiteX10" fmla="*/ 10654189 w 16373475"/>
              <a:gd name="connsiteY10" fmla="*/ 8102442 h 10296525"/>
              <a:gd name="connsiteX11" fmla="*/ 10535127 w 16373475"/>
              <a:gd name="connsiteY11" fmla="*/ 8067199 h 10296525"/>
              <a:gd name="connsiteX12" fmla="*/ 9118759 w 16373475"/>
              <a:gd name="connsiteY12" fmla="*/ 7430929 h 10296525"/>
              <a:gd name="connsiteX13" fmla="*/ 8640604 w 16373475"/>
              <a:gd name="connsiteY13" fmla="*/ 7032784 h 10296525"/>
              <a:gd name="connsiteX14" fmla="*/ 8071962 w 16373475"/>
              <a:gd name="connsiteY14" fmla="*/ 5651659 h 10296525"/>
              <a:gd name="connsiteX15" fmla="*/ 8064342 w 16373475"/>
              <a:gd name="connsiteY15" fmla="*/ 5454492 h 10296525"/>
              <a:gd name="connsiteX16" fmla="*/ 8078629 w 16373475"/>
              <a:gd name="connsiteY16" fmla="*/ 5271612 h 10296525"/>
              <a:gd name="connsiteX17" fmla="*/ 8407241 w 16373475"/>
              <a:gd name="connsiteY17" fmla="*/ 4282916 h 10296525"/>
              <a:gd name="connsiteX18" fmla="*/ 9669304 w 16373475"/>
              <a:gd name="connsiteY18" fmla="*/ 2546509 h 10296525"/>
              <a:gd name="connsiteX19" fmla="*/ 13540264 w 16373475"/>
              <a:gd name="connsiteY19" fmla="*/ 1566386 h 10296525"/>
              <a:gd name="connsiteX20" fmla="*/ 13865066 w 16373475"/>
              <a:gd name="connsiteY20" fmla="*/ 1752124 h 10296525"/>
              <a:gd name="connsiteX21" fmla="*/ 14635639 w 16373475"/>
              <a:gd name="connsiteY21" fmla="*/ 2416016 h 10296525"/>
              <a:gd name="connsiteX22" fmla="*/ 14841379 w 16373475"/>
              <a:gd name="connsiteY22" fmla="*/ 2652236 h 10296525"/>
              <a:gd name="connsiteX23" fmla="*/ 14909959 w 16373475"/>
              <a:gd name="connsiteY23" fmla="*/ 2737961 h 10296525"/>
              <a:gd name="connsiteX24" fmla="*/ 15717679 w 16373475"/>
              <a:gd name="connsiteY24" fmla="*/ 4160044 h 10296525"/>
              <a:gd name="connsiteX25" fmla="*/ 15931991 w 16373475"/>
              <a:gd name="connsiteY25" fmla="*/ 4791551 h 10296525"/>
              <a:gd name="connsiteX26" fmla="*/ 16025336 w 16373475"/>
              <a:gd name="connsiteY26" fmla="*/ 5152549 h 10296525"/>
              <a:gd name="connsiteX27" fmla="*/ 16100584 w 16373475"/>
              <a:gd name="connsiteY27" fmla="*/ 5518309 h 10296525"/>
              <a:gd name="connsiteX28" fmla="*/ 16137731 w 16373475"/>
              <a:gd name="connsiteY28" fmla="*/ 6657499 h 1029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373475" h="10296525">
                <a:moveTo>
                  <a:pt x="7144" y="7144"/>
                </a:moveTo>
                <a:lnTo>
                  <a:pt x="7144" y="10294144"/>
                </a:lnTo>
                <a:lnTo>
                  <a:pt x="16374904" y="10294144"/>
                </a:lnTo>
                <a:lnTo>
                  <a:pt x="16374904" y="7144"/>
                </a:lnTo>
                <a:lnTo>
                  <a:pt x="7144" y="7144"/>
                </a:lnTo>
                <a:close/>
                <a:moveTo>
                  <a:pt x="16137731" y="6657499"/>
                </a:moveTo>
                <a:cubicBezTo>
                  <a:pt x="16065341" y="7027069"/>
                  <a:pt x="15879604" y="7364254"/>
                  <a:pt x="15638621" y="7650956"/>
                </a:cubicBezTo>
                <a:cubicBezTo>
                  <a:pt x="15487173" y="7830026"/>
                  <a:pt x="15314771" y="7990999"/>
                  <a:pt x="15129034" y="8134826"/>
                </a:cubicBezTo>
                <a:cubicBezTo>
                  <a:pt x="14949011" y="8272939"/>
                  <a:pt x="14723269" y="8359617"/>
                  <a:pt x="14506098" y="8425339"/>
                </a:cubicBezTo>
                <a:cubicBezTo>
                  <a:pt x="14039373" y="8565356"/>
                  <a:pt x="13537406" y="8599646"/>
                  <a:pt x="13053536" y="8555831"/>
                </a:cubicBezTo>
                <a:cubicBezTo>
                  <a:pt x="12277248" y="8486299"/>
                  <a:pt x="10916127" y="8171974"/>
                  <a:pt x="10654189" y="8102442"/>
                </a:cubicBezTo>
                <a:cubicBezTo>
                  <a:pt x="10621804" y="8093869"/>
                  <a:pt x="10581798" y="8082439"/>
                  <a:pt x="10535127" y="8067199"/>
                </a:cubicBezTo>
                <a:cubicBezTo>
                  <a:pt x="10200798" y="7961471"/>
                  <a:pt x="9532144" y="7706201"/>
                  <a:pt x="9118759" y="7430929"/>
                </a:cubicBezTo>
                <a:cubicBezTo>
                  <a:pt x="8953024" y="7320439"/>
                  <a:pt x="8789194" y="7193756"/>
                  <a:pt x="8640604" y="7032784"/>
                </a:cubicBezTo>
                <a:cubicBezTo>
                  <a:pt x="8366284" y="6733699"/>
                  <a:pt x="8145304" y="6313646"/>
                  <a:pt x="8071962" y="5651659"/>
                </a:cubicBezTo>
                <a:cubicBezTo>
                  <a:pt x="8064342" y="5586889"/>
                  <a:pt x="8062437" y="5521167"/>
                  <a:pt x="8064342" y="5454492"/>
                </a:cubicBezTo>
                <a:cubicBezTo>
                  <a:pt x="8066246" y="5394484"/>
                  <a:pt x="8071009" y="5333524"/>
                  <a:pt x="8078629" y="5271612"/>
                </a:cubicBezTo>
                <a:cubicBezTo>
                  <a:pt x="8119587" y="4954429"/>
                  <a:pt x="8240554" y="4615339"/>
                  <a:pt x="8407241" y="4282916"/>
                </a:cubicBezTo>
                <a:cubicBezTo>
                  <a:pt x="8747284" y="3603784"/>
                  <a:pt x="9272111" y="2948464"/>
                  <a:pt x="9669304" y="2546509"/>
                </a:cubicBezTo>
                <a:cubicBezTo>
                  <a:pt x="10296048" y="1911191"/>
                  <a:pt x="12016264" y="835819"/>
                  <a:pt x="13540264" y="1566386"/>
                </a:cubicBezTo>
                <a:cubicBezTo>
                  <a:pt x="13649802" y="1618774"/>
                  <a:pt x="13758386" y="1680686"/>
                  <a:pt x="13865066" y="1752124"/>
                </a:cubicBezTo>
                <a:cubicBezTo>
                  <a:pt x="14147006" y="1941671"/>
                  <a:pt x="14404181" y="2166461"/>
                  <a:pt x="14635639" y="2416016"/>
                </a:cubicBezTo>
                <a:cubicBezTo>
                  <a:pt x="14706123" y="2492216"/>
                  <a:pt x="14774704" y="2571274"/>
                  <a:pt x="14841379" y="2652236"/>
                </a:cubicBezTo>
                <a:cubicBezTo>
                  <a:pt x="14864239" y="2680811"/>
                  <a:pt x="14887098" y="2709386"/>
                  <a:pt x="14909959" y="2737961"/>
                </a:cubicBezTo>
                <a:cubicBezTo>
                  <a:pt x="15250954" y="3174206"/>
                  <a:pt x="15516702" y="3653314"/>
                  <a:pt x="15717679" y="4160044"/>
                </a:cubicBezTo>
                <a:cubicBezTo>
                  <a:pt x="15799594" y="4365784"/>
                  <a:pt x="15871031" y="4577239"/>
                  <a:pt x="15931991" y="4791551"/>
                </a:cubicBezTo>
                <a:cubicBezTo>
                  <a:pt x="15966281" y="4910614"/>
                  <a:pt x="15996761" y="5031581"/>
                  <a:pt x="16025336" y="5152549"/>
                </a:cubicBezTo>
                <a:cubicBezTo>
                  <a:pt x="16052959" y="5273517"/>
                  <a:pt x="16078677" y="5395437"/>
                  <a:pt x="16100584" y="5518309"/>
                </a:cubicBezTo>
                <a:cubicBezTo>
                  <a:pt x="16168211" y="5893594"/>
                  <a:pt x="16212027" y="6282214"/>
                  <a:pt x="16137731" y="6657499"/>
                </a:cubicBezTo>
                <a:close/>
              </a:path>
            </a:pathLst>
          </a:custGeom>
          <a:solidFill>
            <a:schemeClr val="bg1"/>
          </a:solidFill>
          <a:ln w="9525" cap="flat">
            <a:noFill/>
            <a:prstDash val="solid"/>
            <a:miter/>
          </a:ln>
        </p:spPr>
        <p:txBody>
          <a:bodyPr rtlCol="0" anchor="ctr"/>
          <a:lstStyle/>
          <a:p>
            <a:endParaRPr lang="nb-NO" sz="900"/>
          </a:p>
        </p:txBody>
      </p:sp>
      <p:grpSp>
        <p:nvGrpSpPr>
          <p:cNvPr id="44" name="Group 43">
            <a:extLst>
              <a:ext uri="{FF2B5EF4-FFF2-40B4-BE49-F238E27FC236}">
                <a16:creationId xmlns:a16="http://schemas.microsoft.com/office/drawing/2014/main" id="{65917294-71AB-470F-AC56-B9E2EF7A8411}"/>
              </a:ext>
            </a:extLst>
          </p:cNvPr>
          <p:cNvGrpSpPr/>
          <p:nvPr/>
        </p:nvGrpSpPr>
        <p:grpSpPr>
          <a:xfrm>
            <a:off x="6375284" y="447"/>
            <a:ext cx="5812908" cy="6870395"/>
            <a:chOff x="7833489" y="1707356"/>
            <a:chExt cx="8711690" cy="10296525"/>
          </a:xfrm>
        </p:grpSpPr>
        <p:sp>
          <p:nvSpPr>
            <p:cNvPr id="40" name="Freeform: Shape 39">
              <a:extLst>
                <a:ext uri="{FF2B5EF4-FFF2-40B4-BE49-F238E27FC236}">
                  <a16:creationId xmlns:a16="http://schemas.microsoft.com/office/drawing/2014/main" id="{C1D40336-3EF7-477D-AF62-D6504F01F05B}"/>
                </a:ext>
              </a:extLst>
            </p:cNvPr>
            <p:cNvSpPr/>
            <p:nvPr/>
          </p:nvSpPr>
          <p:spPr>
            <a:xfrm>
              <a:off x="15306929" y="1707356"/>
              <a:ext cx="1238250" cy="10296525"/>
            </a:xfrm>
            <a:custGeom>
              <a:avLst/>
              <a:gdLst>
                <a:gd name="connsiteX0" fmla="*/ 1237774 w 1238250"/>
                <a:gd name="connsiteY0" fmla="*/ 10294144 h 10296525"/>
                <a:gd name="connsiteX1" fmla="*/ 7144 w 1238250"/>
                <a:gd name="connsiteY1" fmla="*/ 10294144 h 10296525"/>
                <a:gd name="connsiteX2" fmla="*/ 7144 w 1238250"/>
                <a:gd name="connsiteY2" fmla="*/ 7144 h 10296525"/>
                <a:gd name="connsiteX3" fmla="*/ 1237774 w 1238250"/>
                <a:gd name="connsiteY3" fmla="*/ 7144 h 10296525"/>
              </a:gdLst>
              <a:ahLst/>
              <a:cxnLst>
                <a:cxn ang="0">
                  <a:pos x="connsiteX0" y="connsiteY0"/>
                </a:cxn>
                <a:cxn ang="0">
                  <a:pos x="connsiteX1" y="connsiteY1"/>
                </a:cxn>
                <a:cxn ang="0">
                  <a:pos x="connsiteX2" y="connsiteY2"/>
                </a:cxn>
                <a:cxn ang="0">
                  <a:pos x="connsiteX3" y="connsiteY3"/>
                </a:cxn>
              </a:cxnLst>
              <a:rect l="l" t="t" r="r" b="b"/>
              <a:pathLst>
                <a:path w="1238250" h="10296525">
                  <a:moveTo>
                    <a:pt x="1237774" y="10294144"/>
                  </a:moveTo>
                  <a:lnTo>
                    <a:pt x="7144" y="10294144"/>
                  </a:lnTo>
                  <a:lnTo>
                    <a:pt x="7144" y="7144"/>
                  </a:lnTo>
                  <a:lnTo>
                    <a:pt x="1237774" y="7144"/>
                  </a:lnTo>
                  <a:close/>
                </a:path>
              </a:pathLst>
            </a:custGeom>
            <a:solidFill>
              <a:srgbClr val="2E2107"/>
            </a:solidFill>
            <a:ln w="9525" cap="flat">
              <a:noFill/>
              <a:prstDash val="solid"/>
              <a:miter/>
            </a:ln>
          </p:spPr>
          <p:txBody>
            <a:bodyPr rtlCol="0" anchor="ctr"/>
            <a:lstStyle/>
            <a:p>
              <a:endParaRPr lang="nb-NO" sz="900"/>
            </a:p>
          </p:txBody>
        </p:sp>
        <p:sp>
          <p:nvSpPr>
            <p:cNvPr id="41" name="Freeform: Shape 40">
              <a:extLst>
                <a:ext uri="{FF2B5EF4-FFF2-40B4-BE49-F238E27FC236}">
                  <a16:creationId xmlns:a16="http://schemas.microsoft.com/office/drawing/2014/main" id="{04AB4656-3D5A-463D-900A-43AD3F690651}"/>
                </a:ext>
              </a:extLst>
            </p:cNvPr>
            <p:cNvSpPr/>
            <p:nvPr/>
          </p:nvSpPr>
          <p:spPr>
            <a:xfrm>
              <a:off x="16096170" y="1707356"/>
              <a:ext cx="447675" cy="10296525"/>
            </a:xfrm>
            <a:custGeom>
              <a:avLst/>
              <a:gdLst>
                <a:gd name="connsiteX0" fmla="*/ 448151 w 447675"/>
                <a:gd name="connsiteY0" fmla="*/ 10294144 h 10296525"/>
                <a:gd name="connsiteX1" fmla="*/ 7144 w 447675"/>
                <a:gd name="connsiteY1" fmla="*/ 10294144 h 10296525"/>
                <a:gd name="connsiteX2" fmla="*/ 7144 w 447675"/>
                <a:gd name="connsiteY2" fmla="*/ 7144 h 10296525"/>
                <a:gd name="connsiteX3" fmla="*/ 448151 w 447675"/>
                <a:gd name="connsiteY3" fmla="*/ 7144 h 10296525"/>
              </a:gdLst>
              <a:ahLst/>
              <a:cxnLst>
                <a:cxn ang="0">
                  <a:pos x="connsiteX0" y="connsiteY0"/>
                </a:cxn>
                <a:cxn ang="0">
                  <a:pos x="connsiteX1" y="connsiteY1"/>
                </a:cxn>
                <a:cxn ang="0">
                  <a:pos x="connsiteX2" y="connsiteY2"/>
                </a:cxn>
                <a:cxn ang="0">
                  <a:pos x="connsiteX3" y="connsiteY3"/>
                </a:cxn>
              </a:cxnLst>
              <a:rect l="l" t="t" r="r" b="b"/>
              <a:pathLst>
                <a:path w="447675" h="10296525">
                  <a:moveTo>
                    <a:pt x="448151" y="10294144"/>
                  </a:moveTo>
                  <a:lnTo>
                    <a:pt x="7144" y="10294144"/>
                  </a:lnTo>
                  <a:lnTo>
                    <a:pt x="7144" y="7144"/>
                  </a:lnTo>
                  <a:lnTo>
                    <a:pt x="448151" y="7144"/>
                  </a:lnTo>
                  <a:close/>
                </a:path>
              </a:pathLst>
            </a:custGeom>
            <a:solidFill>
              <a:srgbClr val="3F2C08"/>
            </a:solidFill>
            <a:ln w="9525" cap="flat">
              <a:noFill/>
              <a:prstDash val="solid"/>
              <a:miter/>
            </a:ln>
          </p:spPr>
          <p:txBody>
            <a:bodyPr rtlCol="0" anchor="ctr"/>
            <a:lstStyle/>
            <a:p>
              <a:endParaRPr lang="nb-NO" sz="900"/>
            </a:p>
          </p:txBody>
        </p:sp>
        <p:sp>
          <p:nvSpPr>
            <p:cNvPr id="42" name="Freeform: Shape 41">
              <a:extLst>
                <a:ext uri="{FF2B5EF4-FFF2-40B4-BE49-F238E27FC236}">
                  <a16:creationId xmlns:a16="http://schemas.microsoft.com/office/drawing/2014/main" id="{17DE6731-F280-45F7-8D8A-359C3FBF7978}"/>
                </a:ext>
              </a:extLst>
            </p:cNvPr>
            <p:cNvSpPr/>
            <p:nvPr/>
          </p:nvSpPr>
          <p:spPr>
            <a:xfrm>
              <a:off x="7833489" y="8125301"/>
              <a:ext cx="7486650" cy="1524000"/>
            </a:xfrm>
            <a:custGeom>
              <a:avLst/>
              <a:gdLst>
                <a:gd name="connsiteX0" fmla="*/ 23366 w 7486650"/>
                <a:gd name="connsiteY0" fmla="*/ 42386 h 1524000"/>
                <a:gd name="connsiteX1" fmla="*/ 4951601 w 7486650"/>
                <a:gd name="connsiteY1" fmla="*/ 579597 h 1524000"/>
                <a:gd name="connsiteX2" fmla="*/ 6456551 w 7486650"/>
                <a:gd name="connsiteY2" fmla="*/ 796767 h 1524000"/>
                <a:gd name="connsiteX3" fmla="*/ 7480488 w 7486650"/>
                <a:gd name="connsiteY3" fmla="*/ 1524476 h 1524000"/>
                <a:gd name="connsiteX4" fmla="*/ 7480488 w 7486650"/>
                <a:gd name="connsiteY4" fmla="*/ 1428274 h 1524000"/>
                <a:gd name="connsiteX5" fmla="*/ 6456551 w 7486650"/>
                <a:gd name="connsiteY5" fmla="*/ 700564 h 1524000"/>
                <a:gd name="connsiteX6" fmla="*/ 4951601 w 7486650"/>
                <a:gd name="connsiteY6" fmla="*/ 483394 h 1524000"/>
                <a:gd name="connsiteX7" fmla="*/ 573911 w 7486650"/>
                <a:gd name="connsiteY7" fmla="*/ 7144 h 1524000"/>
                <a:gd name="connsiteX8" fmla="*/ 25271 w 7486650"/>
                <a:gd name="connsiteY8" fmla="*/ 7144 h 1524000"/>
                <a:gd name="connsiteX9" fmla="*/ 23366 w 7486650"/>
                <a:gd name="connsiteY9" fmla="*/ 42386 h 152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6650" h="1524000">
                  <a:moveTo>
                    <a:pt x="23366" y="42386"/>
                  </a:moveTo>
                  <a:cubicBezTo>
                    <a:pt x="1094929" y="160497"/>
                    <a:pt x="4482019" y="531972"/>
                    <a:pt x="4951601" y="579597"/>
                  </a:cubicBezTo>
                  <a:cubicBezTo>
                    <a:pt x="5588824" y="644367"/>
                    <a:pt x="6146988" y="691039"/>
                    <a:pt x="6456551" y="796767"/>
                  </a:cubicBezTo>
                  <a:cubicBezTo>
                    <a:pt x="6659434" y="866299"/>
                    <a:pt x="7244269" y="1046322"/>
                    <a:pt x="7480488" y="1524476"/>
                  </a:cubicBezTo>
                  <a:lnTo>
                    <a:pt x="7480488" y="1428274"/>
                  </a:lnTo>
                  <a:cubicBezTo>
                    <a:pt x="7244269" y="950119"/>
                    <a:pt x="6659434" y="770097"/>
                    <a:pt x="6456551" y="700564"/>
                  </a:cubicBezTo>
                  <a:cubicBezTo>
                    <a:pt x="6146988" y="594836"/>
                    <a:pt x="5589776" y="548164"/>
                    <a:pt x="4951601" y="483394"/>
                  </a:cubicBezTo>
                  <a:cubicBezTo>
                    <a:pt x="4545836" y="442436"/>
                    <a:pt x="1959799" y="158591"/>
                    <a:pt x="573911" y="7144"/>
                  </a:cubicBezTo>
                  <a:lnTo>
                    <a:pt x="25271" y="7144"/>
                  </a:lnTo>
                  <a:cubicBezTo>
                    <a:pt x="2411" y="7144"/>
                    <a:pt x="506" y="40481"/>
                    <a:pt x="23366" y="42386"/>
                  </a:cubicBezTo>
                  <a:close/>
                </a:path>
              </a:pathLst>
            </a:custGeom>
            <a:solidFill>
              <a:srgbClr val="573E1B"/>
            </a:solidFill>
            <a:ln w="9525" cap="flat">
              <a:noFill/>
              <a:prstDash val="solid"/>
              <a:miter/>
            </a:ln>
          </p:spPr>
          <p:txBody>
            <a:bodyPr rtlCol="0" anchor="ctr"/>
            <a:lstStyle/>
            <a:p>
              <a:endParaRPr lang="nb-NO" sz="900"/>
            </a:p>
          </p:txBody>
        </p:sp>
        <p:sp>
          <p:nvSpPr>
            <p:cNvPr id="43" name="Freeform: Shape 42">
              <a:extLst>
                <a:ext uri="{FF2B5EF4-FFF2-40B4-BE49-F238E27FC236}">
                  <a16:creationId xmlns:a16="http://schemas.microsoft.com/office/drawing/2014/main" id="{749EDB27-4F8B-431C-9056-2648ECA53B9E}"/>
                </a:ext>
              </a:extLst>
            </p:cNvPr>
            <p:cNvSpPr/>
            <p:nvPr/>
          </p:nvSpPr>
          <p:spPr>
            <a:xfrm>
              <a:off x="8400256" y="7491889"/>
              <a:ext cx="6915150" cy="2066925"/>
            </a:xfrm>
            <a:custGeom>
              <a:avLst/>
              <a:gdLst>
                <a:gd name="connsiteX0" fmla="*/ 7144 w 6915150"/>
                <a:gd name="connsiteY0" fmla="*/ 640556 h 2066925"/>
                <a:gd name="connsiteX1" fmla="*/ 4384834 w 6915150"/>
                <a:gd name="connsiteY1" fmla="*/ 1116806 h 2066925"/>
                <a:gd name="connsiteX2" fmla="*/ 5889784 w 6915150"/>
                <a:gd name="connsiteY2" fmla="*/ 1333976 h 2066925"/>
                <a:gd name="connsiteX3" fmla="*/ 6913721 w 6915150"/>
                <a:gd name="connsiteY3" fmla="*/ 2061686 h 2066925"/>
                <a:gd name="connsiteX4" fmla="*/ 6913721 w 6915150"/>
                <a:gd name="connsiteY4" fmla="*/ 7144 h 2066925"/>
                <a:gd name="connsiteX5" fmla="*/ 6139339 w 6915150"/>
                <a:gd name="connsiteY5" fmla="*/ 640556 h 2066925"/>
                <a:gd name="connsiteX6" fmla="*/ 544354 w 6915150"/>
                <a:gd name="connsiteY6" fmla="*/ 640556 h 2066925"/>
                <a:gd name="connsiteX7" fmla="*/ 7144 w 6915150"/>
                <a:gd name="connsiteY7" fmla="*/ 640556 h 2066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15150" h="2066925">
                  <a:moveTo>
                    <a:pt x="7144" y="640556"/>
                  </a:moveTo>
                  <a:cubicBezTo>
                    <a:pt x="1393031" y="792956"/>
                    <a:pt x="3979069" y="1075849"/>
                    <a:pt x="4384834" y="1116806"/>
                  </a:cubicBezTo>
                  <a:cubicBezTo>
                    <a:pt x="5022056" y="1181576"/>
                    <a:pt x="5580221" y="1228249"/>
                    <a:pt x="5889784" y="1333976"/>
                  </a:cubicBezTo>
                  <a:cubicBezTo>
                    <a:pt x="6092667" y="1403509"/>
                    <a:pt x="6677501" y="1583531"/>
                    <a:pt x="6913721" y="2061686"/>
                  </a:cubicBezTo>
                  <a:lnTo>
                    <a:pt x="6913721" y="7144"/>
                  </a:lnTo>
                  <a:cubicBezTo>
                    <a:pt x="6913721" y="7144"/>
                    <a:pt x="6780371" y="640556"/>
                    <a:pt x="6139339" y="640556"/>
                  </a:cubicBezTo>
                  <a:cubicBezTo>
                    <a:pt x="5498306" y="640556"/>
                    <a:pt x="544354" y="640556"/>
                    <a:pt x="544354" y="640556"/>
                  </a:cubicBezTo>
                  <a:lnTo>
                    <a:pt x="7144" y="640556"/>
                  </a:lnTo>
                  <a:close/>
                </a:path>
              </a:pathLst>
            </a:custGeom>
            <a:solidFill>
              <a:srgbClr val="2E2107"/>
            </a:solidFill>
            <a:ln w="9525" cap="flat">
              <a:noFill/>
              <a:prstDash val="solid"/>
              <a:miter/>
            </a:ln>
          </p:spPr>
          <p:txBody>
            <a:bodyPr rtlCol="0" anchor="ctr"/>
            <a:lstStyle/>
            <a:p>
              <a:endParaRPr lang="nb-NO" sz="900"/>
            </a:p>
          </p:txBody>
        </p:sp>
      </p:grpSp>
      <p:grpSp>
        <p:nvGrpSpPr>
          <p:cNvPr id="37" name="Group 36">
            <a:extLst>
              <a:ext uri="{FF2B5EF4-FFF2-40B4-BE49-F238E27FC236}">
                <a16:creationId xmlns:a16="http://schemas.microsoft.com/office/drawing/2014/main" id="{4652F0DC-3ACE-44E8-8C6D-2F835204D663}"/>
              </a:ext>
            </a:extLst>
          </p:cNvPr>
          <p:cNvGrpSpPr/>
          <p:nvPr/>
        </p:nvGrpSpPr>
        <p:grpSpPr>
          <a:xfrm>
            <a:off x="7350602" y="1188525"/>
            <a:ext cx="3772828" cy="5682317"/>
            <a:chOff x="3713884" y="3307065"/>
            <a:chExt cx="5149854" cy="7756278"/>
          </a:xfrm>
        </p:grpSpPr>
        <p:sp>
          <p:nvSpPr>
            <p:cNvPr id="4" name="Freeform: Shape 3">
              <a:extLst>
                <a:ext uri="{FF2B5EF4-FFF2-40B4-BE49-F238E27FC236}">
                  <a16:creationId xmlns:a16="http://schemas.microsoft.com/office/drawing/2014/main" id="{E615F756-7D2B-4262-AC8D-A3F6F14FF8A6}"/>
                </a:ext>
              </a:extLst>
            </p:cNvPr>
            <p:cNvSpPr/>
            <p:nvPr/>
          </p:nvSpPr>
          <p:spPr>
            <a:xfrm>
              <a:off x="4215240" y="6995780"/>
              <a:ext cx="361950" cy="342900"/>
            </a:xfrm>
            <a:custGeom>
              <a:avLst/>
              <a:gdLst>
                <a:gd name="connsiteX0" fmla="*/ 360521 w 361950"/>
                <a:gd name="connsiteY0" fmla="*/ 68104 h 342900"/>
                <a:gd name="connsiteX1" fmla="*/ 124301 w 361950"/>
                <a:gd name="connsiteY1" fmla="*/ 344329 h 342900"/>
                <a:gd name="connsiteX2" fmla="*/ 7144 w 361950"/>
                <a:gd name="connsiteY2" fmla="*/ 310991 h 342900"/>
                <a:gd name="connsiteX3" fmla="*/ 168116 w 361950"/>
                <a:gd name="connsiteY3" fmla="*/ 7144 h 342900"/>
              </a:gdLst>
              <a:ahLst/>
              <a:cxnLst>
                <a:cxn ang="0">
                  <a:pos x="connsiteX0" y="connsiteY0"/>
                </a:cxn>
                <a:cxn ang="0">
                  <a:pos x="connsiteX1" y="connsiteY1"/>
                </a:cxn>
                <a:cxn ang="0">
                  <a:pos x="connsiteX2" y="connsiteY2"/>
                </a:cxn>
                <a:cxn ang="0">
                  <a:pos x="connsiteX3" y="connsiteY3"/>
                </a:cxn>
              </a:cxnLst>
              <a:rect l="l" t="t" r="r" b="b"/>
              <a:pathLst>
                <a:path w="361950" h="342900">
                  <a:moveTo>
                    <a:pt x="360521" y="68104"/>
                  </a:moveTo>
                  <a:lnTo>
                    <a:pt x="124301" y="344329"/>
                  </a:lnTo>
                  <a:lnTo>
                    <a:pt x="7144" y="310991"/>
                  </a:lnTo>
                  <a:lnTo>
                    <a:pt x="168116" y="7144"/>
                  </a:lnTo>
                  <a:close/>
                </a:path>
              </a:pathLst>
            </a:custGeom>
            <a:solidFill>
              <a:srgbClr val="FFAB91"/>
            </a:solidFill>
            <a:ln w="9525" cap="flat">
              <a:noFill/>
              <a:prstDash val="solid"/>
              <a:miter/>
            </a:ln>
          </p:spPr>
          <p:txBody>
            <a:bodyPr rtlCol="0" anchor="ctr"/>
            <a:lstStyle/>
            <a:p>
              <a:endParaRPr lang="nb-NO" sz="900"/>
            </a:p>
          </p:txBody>
        </p:sp>
        <p:sp>
          <p:nvSpPr>
            <p:cNvPr id="5" name="Freeform: Shape 4">
              <a:extLst>
                <a:ext uri="{FF2B5EF4-FFF2-40B4-BE49-F238E27FC236}">
                  <a16:creationId xmlns:a16="http://schemas.microsoft.com/office/drawing/2014/main" id="{FA694F83-2D56-4DA8-893C-D71598FA46F0}"/>
                </a:ext>
              </a:extLst>
            </p:cNvPr>
            <p:cNvSpPr/>
            <p:nvPr/>
          </p:nvSpPr>
          <p:spPr>
            <a:xfrm>
              <a:off x="4318110" y="4511862"/>
              <a:ext cx="3476625" cy="2705100"/>
            </a:xfrm>
            <a:custGeom>
              <a:avLst/>
              <a:gdLst>
                <a:gd name="connsiteX0" fmla="*/ 3477101 w 3476625"/>
                <a:gd name="connsiteY0" fmla="*/ 2112919 h 2705100"/>
                <a:gd name="connsiteX1" fmla="*/ 2625566 w 3476625"/>
                <a:gd name="connsiteY1" fmla="*/ 2644414 h 2705100"/>
                <a:gd name="connsiteX2" fmla="*/ 1694974 w 3476625"/>
                <a:gd name="connsiteY2" fmla="*/ 1288054 h 2705100"/>
                <a:gd name="connsiteX3" fmla="*/ 1536859 w 3476625"/>
                <a:gd name="connsiteY3" fmla="*/ 988017 h 2705100"/>
                <a:gd name="connsiteX4" fmla="*/ 1430179 w 3476625"/>
                <a:gd name="connsiteY4" fmla="*/ 1469029 h 2705100"/>
                <a:gd name="connsiteX5" fmla="*/ 1164431 w 3476625"/>
                <a:gd name="connsiteY5" fmla="*/ 1924324 h 2705100"/>
                <a:gd name="connsiteX6" fmla="*/ 732949 w 3476625"/>
                <a:gd name="connsiteY6" fmla="*/ 2492014 h 2705100"/>
                <a:gd name="connsiteX7" fmla="*/ 7144 w 3476625"/>
                <a:gd name="connsiteY7" fmla="*/ 2492014 h 2705100"/>
                <a:gd name="connsiteX8" fmla="*/ 1006316 w 3476625"/>
                <a:gd name="connsiteY8" fmla="*/ 515576 h 2705100"/>
                <a:gd name="connsiteX9" fmla="*/ 1842611 w 3476625"/>
                <a:gd name="connsiteY9" fmla="*/ 89809 h 2705100"/>
                <a:gd name="connsiteX10" fmla="*/ 3477101 w 3476625"/>
                <a:gd name="connsiteY10" fmla="*/ 2112919 h 270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76625" h="2705100">
                  <a:moveTo>
                    <a:pt x="3477101" y="2112919"/>
                  </a:moveTo>
                  <a:cubicBezTo>
                    <a:pt x="3414236" y="2812054"/>
                    <a:pt x="2914174" y="2728234"/>
                    <a:pt x="2625566" y="2644414"/>
                  </a:cubicBezTo>
                  <a:cubicBezTo>
                    <a:pt x="2416969" y="2583454"/>
                    <a:pt x="1942624" y="1749064"/>
                    <a:pt x="1694974" y="1288054"/>
                  </a:cubicBezTo>
                  <a:cubicBezTo>
                    <a:pt x="1598771" y="1109937"/>
                    <a:pt x="1536859" y="988017"/>
                    <a:pt x="1536859" y="988017"/>
                  </a:cubicBezTo>
                  <a:cubicBezTo>
                    <a:pt x="1536859" y="988017"/>
                    <a:pt x="1507331" y="1226142"/>
                    <a:pt x="1430179" y="1469029"/>
                  </a:cubicBezTo>
                  <a:cubicBezTo>
                    <a:pt x="1372076" y="1650957"/>
                    <a:pt x="1285399" y="1835742"/>
                    <a:pt x="1164431" y="1924324"/>
                  </a:cubicBezTo>
                  <a:cubicBezTo>
                    <a:pt x="880586" y="2129112"/>
                    <a:pt x="732949" y="2492014"/>
                    <a:pt x="732949" y="2492014"/>
                  </a:cubicBezTo>
                  <a:cubicBezTo>
                    <a:pt x="254794" y="2633937"/>
                    <a:pt x="7144" y="2492014"/>
                    <a:pt x="7144" y="2492014"/>
                  </a:cubicBezTo>
                  <a:cubicBezTo>
                    <a:pt x="328136" y="2160544"/>
                    <a:pt x="769144" y="1088029"/>
                    <a:pt x="1006316" y="515576"/>
                  </a:cubicBezTo>
                  <a:cubicBezTo>
                    <a:pt x="1242536" y="-57829"/>
                    <a:pt x="1532096" y="-57829"/>
                    <a:pt x="1842611" y="89809"/>
                  </a:cubicBezTo>
                  <a:cubicBezTo>
                    <a:pt x="2152174" y="235542"/>
                    <a:pt x="3477101" y="2112919"/>
                    <a:pt x="3477101" y="2112919"/>
                  </a:cubicBezTo>
                  <a:close/>
                </a:path>
              </a:pathLst>
            </a:custGeom>
            <a:solidFill>
              <a:srgbClr val="4071D8"/>
            </a:solidFill>
            <a:ln w="9525" cap="flat">
              <a:noFill/>
              <a:prstDash val="solid"/>
              <a:miter/>
            </a:ln>
          </p:spPr>
          <p:txBody>
            <a:bodyPr rtlCol="0" anchor="ctr"/>
            <a:lstStyle/>
            <a:p>
              <a:endParaRPr lang="nb-NO" sz="900"/>
            </a:p>
          </p:txBody>
        </p:sp>
        <p:sp>
          <p:nvSpPr>
            <p:cNvPr id="6" name="Freeform: Shape 5">
              <a:extLst>
                <a:ext uri="{FF2B5EF4-FFF2-40B4-BE49-F238E27FC236}">
                  <a16:creationId xmlns:a16="http://schemas.microsoft.com/office/drawing/2014/main" id="{367F89DF-0242-4D22-9835-45913EF04A36}"/>
                </a:ext>
              </a:extLst>
            </p:cNvPr>
            <p:cNvSpPr/>
            <p:nvPr/>
          </p:nvSpPr>
          <p:spPr>
            <a:xfrm>
              <a:off x="7172753" y="4421026"/>
              <a:ext cx="762000" cy="495300"/>
            </a:xfrm>
            <a:custGeom>
              <a:avLst/>
              <a:gdLst>
                <a:gd name="connsiteX0" fmla="*/ 763429 w 762000"/>
                <a:gd name="connsiteY0" fmla="*/ 496875 h 495300"/>
                <a:gd name="connsiteX1" fmla="*/ 332899 w 762000"/>
                <a:gd name="connsiteY1" fmla="*/ 54915 h 495300"/>
                <a:gd name="connsiteX2" fmla="*/ 7144 w 762000"/>
                <a:gd name="connsiteY2" fmla="*/ 56820 h 495300"/>
                <a:gd name="connsiteX3" fmla="*/ 108109 w 762000"/>
                <a:gd name="connsiteY3" fmla="*/ 411150 h 495300"/>
              </a:gdLst>
              <a:ahLst/>
              <a:cxnLst>
                <a:cxn ang="0">
                  <a:pos x="connsiteX0" y="connsiteY0"/>
                </a:cxn>
                <a:cxn ang="0">
                  <a:pos x="connsiteX1" y="connsiteY1"/>
                </a:cxn>
                <a:cxn ang="0">
                  <a:pos x="connsiteX2" y="connsiteY2"/>
                </a:cxn>
                <a:cxn ang="0">
                  <a:pos x="connsiteX3" y="connsiteY3"/>
                </a:cxn>
              </a:cxnLst>
              <a:rect l="l" t="t" r="r" b="b"/>
              <a:pathLst>
                <a:path w="762000" h="495300">
                  <a:moveTo>
                    <a:pt x="763429" y="496875"/>
                  </a:moveTo>
                  <a:cubicBezTo>
                    <a:pt x="763429" y="496875"/>
                    <a:pt x="359569" y="163500"/>
                    <a:pt x="332899" y="54915"/>
                  </a:cubicBezTo>
                  <a:cubicBezTo>
                    <a:pt x="306229" y="-53670"/>
                    <a:pt x="7144" y="56820"/>
                    <a:pt x="7144" y="56820"/>
                  </a:cubicBezTo>
                  <a:cubicBezTo>
                    <a:pt x="7144" y="56820"/>
                    <a:pt x="136684" y="215887"/>
                    <a:pt x="108109" y="411150"/>
                  </a:cubicBezTo>
                </a:path>
              </a:pathLst>
            </a:custGeom>
            <a:solidFill>
              <a:srgbClr val="FFAB91"/>
            </a:solidFill>
            <a:ln w="9525" cap="flat">
              <a:noFill/>
              <a:prstDash val="solid"/>
              <a:miter/>
            </a:ln>
          </p:spPr>
          <p:txBody>
            <a:bodyPr rtlCol="0" anchor="ctr"/>
            <a:lstStyle/>
            <a:p>
              <a:endParaRPr lang="nb-NO" sz="900"/>
            </a:p>
          </p:txBody>
        </p:sp>
        <p:sp>
          <p:nvSpPr>
            <p:cNvPr id="7" name="Freeform: Shape 6">
              <a:extLst>
                <a:ext uri="{FF2B5EF4-FFF2-40B4-BE49-F238E27FC236}">
                  <a16:creationId xmlns:a16="http://schemas.microsoft.com/office/drawing/2014/main" id="{8C85A30F-04A8-4394-9408-61AB56AC2673}"/>
                </a:ext>
              </a:extLst>
            </p:cNvPr>
            <p:cNvSpPr/>
            <p:nvPr/>
          </p:nvSpPr>
          <p:spPr>
            <a:xfrm>
              <a:off x="5156310" y="10136172"/>
              <a:ext cx="219075" cy="428625"/>
            </a:xfrm>
            <a:custGeom>
              <a:avLst/>
              <a:gdLst>
                <a:gd name="connsiteX0" fmla="*/ 186214 w 219075"/>
                <a:gd name="connsiteY0" fmla="*/ 7144 h 428625"/>
                <a:gd name="connsiteX1" fmla="*/ 213836 w 219075"/>
                <a:gd name="connsiteY1" fmla="*/ 369094 h 428625"/>
                <a:gd name="connsiteX2" fmla="*/ 107156 w 219075"/>
                <a:gd name="connsiteY2" fmla="*/ 428149 h 428625"/>
                <a:gd name="connsiteX3" fmla="*/ 7144 w 219075"/>
                <a:gd name="connsiteY3" fmla="*/ 99536 h 428625"/>
              </a:gdLst>
              <a:ahLst/>
              <a:cxnLst>
                <a:cxn ang="0">
                  <a:pos x="connsiteX0" y="connsiteY0"/>
                </a:cxn>
                <a:cxn ang="0">
                  <a:pos x="connsiteX1" y="connsiteY1"/>
                </a:cxn>
                <a:cxn ang="0">
                  <a:pos x="connsiteX2" y="connsiteY2"/>
                </a:cxn>
                <a:cxn ang="0">
                  <a:pos x="connsiteX3" y="connsiteY3"/>
                </a:cxn>
              </a:cxnLst>
              <a:rect l="l" t="t" r="r" b="b"/>
              <a:pathLst>
                <a:path w="219075" h="428625">
                  <a:moveTo>
                    <a:pt x="186214" y="7144"/>
                  </a:moveTo>
                  <a:lnTo>
                    <a:pt x="213836" y="369094"/>
                  </a:lnTo>
                  <a:lnTo>
                    <a:pt x="107156" y="428149"/>
                  </a:lnTo>
                  <a:lnTo>
                    <a:pt x="7144" y="99536"/>
                  </a:lnTo>
                  <a:close/>
                </a:path>
              </a:pathLst>
            </a:custGeom>
            <a:solidFill>
              <a:srgbClr val="FFAB91"/>
            </a:solidFill>
            <a:ln w="9525" cap="flat">
              <a:noFill/>
              <a:prstDash val="solid"/>
              <a:miter/>
            </a:ln>
          </p:spPr>
          <p:txBody>
            <a:bodyPr rtlCol="0" anchor="ctr"/>
            <a:lstStyle/>
            <a:p>
              <a:endParaRPr lang="nb-NO" sz="900"/>
            </a:p>
          </p:txBody>
        </p:sp>
        <p:sp>
          <p:nvSpPr>
            <p:cNvPr id="8" name="Freeform: Shape 7">
              <a:extLst>
                <a:ext uri="{FF2B5EF4-FFF2-40B4-BE49-F238E27FC236}">
                  <a16:creationId xmlns:a16="http://schemas.microsoft.com/office/drawing/2014/main" id="{F12FE825-3D2C-40E0-9232-A72C6464A858}"/>
                </a:ext>
              </a:extLst>
            </p:cNvPr>
            <p:cNvSpPr/>
            <p:nvPr/>
          </p:nvSpPr>
          <p:spPr>
            <a:xfrm>
              <a:off x="6252638" y="4134470"/>
              <a:ext cx="266700" cy="247650"/>
            </a:xfrm>
            <a:custGeom>
              <a:avLst/>
              <a:gdLst>
                <a:gd name="connsiteX0" fmla="*/ 209074 w 266700"/>
                <a:gd name="connsiteY0" fmla="*/ 210026 h 247650"/>
                <a:gd name="connsiteX1" fmla="*/ 265271 w 266700"/>
                <a:gd name="connsiteY1" fmla="*/ 114776 h 247650"/>
                <a:gd name="connsiteX2" fmla="*/ 161449 w 266700"/>
                <a:gd name="connsiteY2" fmla="*/ 7144 h 247650"/>
                <a:gd name="connsiteX3" fmla="*/ 7144 w 26670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66700" h="247650">
                  <a:moveTo>
                    <a:pt x="209074" y="210026"/>
                  </a:moveTo>
                  <a:lnTo>
                    <a:pt x="265271" y="114776"/>
                  </a:lnTo>
                  <a:lnTo>
                    <a:pt x="161449" y="7144"/>
                  </a:lnTo>
                  <a:lnTo>
                    <a:pt x="7144" y="243364"/>
                  </a:lnTo>
                  <a:close/>
                </a:path>
              </a:pathLst>
            </a:custGeom>
            <a:solidFill>
              <a:srgbClr val="FFAB91"/>
            </a:solidFill>
            <a:ln w="9525" cap="flat">
              <a:noFill/>
              <a:prstDash val="solid"/>
              <a:miter/>
            </a:ln>
          </p:spPr>
          <p:txBody>
            <a:bodyPr rtlCol="0" anchor="ctr"/>
            <a:lstStyle/>
            <a:p>
              <a:endParaRPr lang="nb-NO" sz="900"/>
            </a:p>
          </p:txBody>
        </p:sp>
        <p:sp>
          <p:nvSpPr>
            <p:cNvPr id="9" name="Freeform: Shape 8">
              <a:extLst>
                <a:ext uri="{FF2B5EF4-FFF2-40B4-BE49-F238E27FC236}">
                  <a16:creationId xmlns:a16="http://schemas.microsoft.com/office/drawing/2014/main" id="{9AAFFADC-D54A-4ED3-96E4-1B663CDFF7CC}"/>
                </a:ext>
              </a:extLst>
            </p:cNvPr>
            <p:cNvSpPr/>
            <p:nvPr/>
          </p:nvSpPr>
          <p:spPr>
            <a:xfrm>
              <a:off x="5976052" y="4296394"/>
              <a:ext cx="1676400" cy="1152525"/>
            </a:xfrm>
            <a:custGeom>
              <a:avLst/>
              <a:gdLst>
                <a:gd name="connsiteX0" fmla="*/ 1386724 w 1676400"/>
                <a:gd name="connsiteY0" fmla="*/ 658655 h 1152525"/>
                <a:gd name="connsiteX1" fmla="*/ 413269 w 1676400"/>
                <a:gd name="connsiteY1" fmla="*/ 450057 h 1152525"/>
                <a:gd name="connsiteX2" fmla="*/ 545667 w 1676400"/>
                <a:gd name="connsiteY2" fmla="*/ 23337 h 1152525"/>
                <a:gd name="connsiteX3" fmla="*/ 272299 w 1676400"/>
                <a:gd name="connsiteY3" fmla="*/ 45245 h 1152525"/>
                <a:gd name="connsiteX4" fmla="*/ 27507 w 1676400"/>
                <a:gd name="connsiteY4" fmla="*/ 439580 h 1152525"/>
                <a:gd name="connsiteX5" fmla="*/ 159904 w 1676400"/>
                <a:gd name="connsiteY5" fmla="*/ 751047 h 1152525"/>
                <a:gd name="connsiteX6" fmla="*/ 1422919 w 1676400"/>
                <a:gd name="connsiteY6" fmla="*/ 1149192 h 1152525"/>
                <a:gd name="connsiteX7" fmla="*/ 1636279 w 1676400"/>
                <a:gd name="connsiteY7" fmla="*/ 778670 h 1152525"/>
                <a:gd name="connsiteX8" fmla="*/ 1636279 w 1676400"/>
                <a:gd name="connsiteY8" fmla="*/ 778670 h 1152525"/>
                <a:gd name="connsiteX9" fmla="*/ 1386724 w 1676400"/>
                <a:gd name="connsiteY9" fmla="*/ 658655 h 115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6400" h="1152525">
                  <a:moveTo>
                    <a:pt x="1386724" y="658655"/>
                  </a:moveTo>
                  <a:cubicBezTo>
                    <a:pt x="1031442" y="657702"/>
                    <a:pt x="828559" y="621507"/>
                    <a:pt x="413269" y="450057"/>
                  </a:cubicBezTo>
                  <a:lnTo>
                    <a:pt x="545667" y="23337"/>
                  </a:lnTo>
                  <a:cubicBezTo>
                    <a:pt x="475182" y="-34765"/>
                    <a:pt x="338022" y="85250"/>
                    <a:pt x="272299" y="45245"/>
                  </a:cubicBezTo>
                  <a:lnTo>
                    <a:pt x="27507" y="439580"/>
                  </a:lnTo>
                  <a:cubicBezTo>
                    <a:pt x="-46788" y="596742"/>
                    <a:pt x="101802" y="707232"/>
                    <a:pt x="159904" y="751047"/>
                  </a:cubicBezTo>
                  <a:cubicBezTo>
                    <a:pt x="674254" y="1134905"/>
                    <a:pt x="1092402" y="1164432"/>
                    <a:pt x="1422919" y="1149192"/>
                  </a:cubicBezTo>
                  <a:cubicBezTo>
                    <a:pt x="1613419" y="1149192"/>
                    <a:pt x="1731529" y="942500"/>
                    <a:pt x="1636279" y="778670"/>
                  </a:cubicBezTo>
                  <a:lnTo>
                    <a:pt x="1636279" y="778670"/>
                  </a:lnTo>
                  <a:cubicBezTo>
                    <a:pt x="1584844" y="691040"/>
                    <a:pt x="1485784" y="643415"/>
                    <a:pt x="1386724" y="658655"/>
                  </a:cubicBezTo>
                  <a:close/>
                </a:path>
              </a:pathLst>
            </a:custGeom>
            <a:solidFill>
              <a:schemeClr val="accent6">
                <a:lumMod val="40000"/>
                <a:lumOff val="60000"/>
              </a:schemeClr>
            </a:solidFill>
            <a:ln w="9525" cap="flat">
              <a:noFill/>
              <a:prstDash val="solid"/>
              <a:miter/>
            </a:ln>
          </p:spPr>
          <p:txBody>
            <a:bodyPr rtlCol="0" anchor="ctr"/>
            <a:lstStyle/>
            <a:p>
              <a:endParaRPr lang="nb-NO" sz="900"/>
            </a:p>
          </p:txBody>
        </p:sp>
        <p:sp>
          <p:nvSpPr>
            <p:cNvPr id="10" name="Freeform: Shape 9">
              <a:extLst>
                <a:ext uri="{FF2B5EF4-FFF2-40B4-BE49-F238E27FC236}">
                  <a16:creationId xmlns:a16="http://schemas.microsoft.com/office/drawing/2014/main" id="{23427E15-F907-4FAE-A1CA-F76B97930C90}"/>
                </a:ext>
              </a:extLst>
            </p:cNvPr>
            <p:cNvSpPr/>
            <p:nvPr/>
          </p:nvSpPr>
          <p:spPr>
            <a:xfrm>
              <a:off x="6114204" y="3706694"/>
              <a:ext cx="590550" cy="590550"/>
            </a:xfrm>
            <a:custGeom>
              <a:avLst/>
              <a:gdLst>
                <a:gd name="connsiteX0" fmla="*/ 249400 w 590550"/>
                <a:gd name="connsiteY0" fmla="*/ 7247 h 590550"/>
                <a:gd name="connsiteX1" fmla="*/ 38898 w 590550"/>
                <a:gd name="connsiteY1" fmla="*/ 25344 h 590550"/>
                <a:gd name="connsiteX2" fmla="*/ 12228 w 590550"/>
                <a:gd name="connsiteY2" fmla="*/ 77732 h 590550"/>
                <a:gd name="connsiteX3" fmla="*/ 310360 w 590550"/>
                <a:gd name="connsiteY3" fmla="*/ 574937 h 590550"/>
                <a:gd name="connsiteX4" fmla="*/ 349413 w 590550"/>
                <a:gd name="connsiteY4" fmla="*/ 590177 h 590550"/>
                <a:gd name="connsiteX5" fmla="*/ 561821 w 590550"/>
                <a:gd name="connsiteY5" fmla="*/ 531122 h 590550"/>
                <a:gd name="connsiteX6" fmla="*/ 581823 w 590550"/>
                <a:gd name="connsiteY6" fmla="*/ 478734 h 590550"/>
                <a:gd name="connsiteX7" fmla="*/ 281785 w 590550"/>
                <a:gd name="connsiteY7" fmla="*/ 22486 h 590550"/>
                <a:gd name="connsiteX8" fmla="*/ 249400 w 590550"/>
                <a:gd name="connsiteY8" fmla="*/ 724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0550" h="590550">
                  <a:moveTo>
                    <a:pt x="249400" y="7247"/>
                  </a:moveTo>
                  <a:lnTo>
                    <a:pt x="38898" y="25344"/>
                  </a:lnTo>
                  <a:cubicBezTo>
                    <a:pt x="13180" y="27249"/>
                    <a:pt x="-1107" y="55824"/>
                    <a:pt x="12228" y="77732"/>
                  </a:cubicBezTo>
                  <a:lnTo>
                    <a:pt x="310360" y="574937"/>
                  </a:lnTo>
                  <a:cubicBezTo>
                    <a:pt x="317980" y="588272"/>
                    <a:pt x="334173" y="594939"/>
                    <a:pt x="349413" y="590177"/>
                  </a:cubicBezTo>
                  <a:lnTo>
                    <a:pt x="561821" y="531122"/>
                  </a:lnTo>
                  <a:cubicBezTo>
                    <a:pt x="584681" y="524454"/>
                    <a:pt x="594206" y="498737"/>
                    <a:pt x="581823" y="478734"/>
                  </a:cubicBezTo>
                  <a:lnTo>
                    <a:pt x="281785" y="22486"/>
                  </a:lnTo>
                  <a:cubicBezTo>
                    <a:pt x="275118" y="12009"/>
                    <a:pt x="262735" y="6294"/>
                    <a:pt x="249400" y="7247"/>
                  </a:cubicBezTo>
                  <a:close/>
                </a:path>
              </a:pathLst>
            </a:custGeom>
            <a:solidFill>
              <a:srgbClr val="002CA3"/>
            </a:solidFill>
            <a:ln w="9525" cap="flat">
              <a:noFill/>
              <a:prstDash val="solid"/>
              <a:miter/>
            </a:ln>
          </p:spPr>
          <p:txBody>
            <a:bodyPr rtlCol="0" anchor="ctr"/>
            <a:lstStyle/>
            <a:p>
              <a:endParaRPr lang="nb-NO" sz="900"/>
            </a:p>
          </p:txBody>
        </p:sp>
        <p:sp>
          <p:nvSpPr>
            <p:cNvPr id="11" name="Freeform: Shape 10">
              <a:extLst>
                <a:ext uri="{FF2B5EF4-FFF2-40B4-BE49-F238E27FC236}">
                  <a16:creationId xmlns:a16="http://schemas.microsoft.com/office/drawing/2014/main" id="{6FC24DA8-2096-422D-AC59-A9D04618BA8A}"/>
                </a:ext>
              </a:extLst>
            </p:cNvPr>
            <p:cNvSpPr/>
            <p:nvPr/>
          </p:nvSpPr>
          <p:spPr>
            <a:xfrm>
              <a:off x="6143145" y="3728705"/>
              <a:ext cx="514350" cy="523875"/>
            </a:xfrm>
            <a:custGeom>
              <a:avLst/>
              <a:gdLst>
                <a:gd name="connsiteX0" fmla="*/ 217602 w 514350"/>
                <a:gd name="connsiteY0" fmla="*/ 7144 h 523875"/>
                <a:gd name="connsiteX1" fmla="*/ 27102 w 514350"/>
                <a:gd name="connsiteY1" fmla="*/ 23336 h 523875"/>
                <a:gd name="connsiteX2" fmla="*/ 9957 w 514350"/>
                <a:gd name="connsiteY2" fmla="*/ 55721 h 523875"/>
                <a:gd name="connsiteX3" fmla="*/ 281419 w 514350"/>
                <a:gd name="connsiteY3" fmla="*/ 509111 h 523875"/>
                <a:gd name="connsiteX4" fmla="*/ 306184 w 514350"/>
                <a:gd name="connsiteY4" fmla="*/ 518636 h 523875"/>
                <a:gd name="connsiteX5" fmla="*/ 496684 w 514350"/>
                <a:gd name="connsiteY5" fmla="*/ 465296 h 523875"/>
                <a:gd name="connsiteX6" fmla="*/ 509067 w 514350"/>
                <a:gd name="connsiteY6" fmla="*/ 432911 h 523875"/>
                <a:gd name="connsiteX7" fmla="*/ 237604 w 514350"/>
                <a:gd name="connsiteY7" fmla="*/ 15716 h 523875"/>
                <a:gd name="connsiteX8" fmla="*/ 217602 w 514350"/>
                <a:gd name="connsiteY8" fmla="*/ 7144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4350" h="523875">
                  <a:moveTo>
                    <a:pt x="217602" y="7144"/>
                  </a:moveTo>
                  <a:lnTo>
                    <a:pt x="27102" y="23336"/>
                  </a:lnTo>
                  <a:cubicBezTo>
                    <a:pt x="10909" y="24289"/>
                    <a:pt x="2337" y="42386"/>
                    <a:pt x="9957" y="55721"/>
                  </a:cubicBezTo>
                  <a:lnTo>
                    <a:pt x="281419" y="509111"/>
                  </a:lnTo>
                  <a:cubicBezTo>
                    <a:pt x="286182" y="517684"/>
                    <a:pt x="296659" y="521494"/>
                    <a:pt x="306184" y="518636"/>
                  </a:cubicBezTo>
                  <a:lnTo>
                    <a:pt x="496684" y="465296"/>
                  </a:lnTo>
                  <a:cubicBezTo>
                    <a:pt x="510972" y="461486"/>
                    <a:pt x="516687" y="445294"/>
                    <a:pt x="509067" y="432911"/>
                  </a:cubicBezTo>
                  <a:lnTo>
                    <a:pt x="237604" y="15716"/>
                  </a:lnTo>
                  <a:cubicBezTo>
                    <a:pt x="232842" y="10954"/>
                    <a:pt x="225222" y="7144"/>
                    <a:pt x="217602" y="7144"/>
                  </a:cubicBezTo>
                  <a:close/>
                </a:path>
              </a:pathLst>
            </a:custGeom>
            <a:solidFill>
              <a:srgbClr val="FFFFFF"/>
            </a:solidFill>
            <a:ln w="9525" cap="flat">
              <a:noFill/>
              <a:prstDash val="solid"/>
              <a:miter/>
            </a:ln>
          </p:spPr>
          <p:txBody>
            <a:bodyPr rtlCol="0" anchor="ctr"/>
            <a:lstStyle/>
            <a:p>
              <a:endParaRPr lang="nb-NO" sz="900"/>
            </a:p>
          </p:txBody>
        </p:sp>
        <p:sp>
          <p:nvSpPr>
            <p:cNvPr id="12" name="Freeform: Shape 11">
              <a:extLst>
                <a:ext uri="{FF2B5EF4-FFF2-40B4-BE49-F238E27FC236}">
                  <a16:creationId xmlns:a16="http://schemas.microsoft.com/office/drawing/2014/main" id="{EFF2347F-FA15-4670-BF55-1B43CE499ACB}"/>
                </a:ext>
              </a:extLst>
            </p:cNvPr>
            <p:cNvSpPr/>
            <p:nvPr/>
          </p:nvSpPr>
          <p:spPr>
            <a:xfrm>
              <a:off x="6554580" y="4218290"/>
              <a:ext cx="47625" cy="38100"/>
            </a:xfrm>
            <a:custGeom>
              <a:avLst/>
              <a:gdLst>
                <a:gd name="connsiteX0" fmla="*/ 41434 w 47625"/>
                <a:gd name="connsiteY0" fmla="*/ 21431 h 38100"/>
                <a:gd name="connsiteX1" fmla="*/ 24289 w 47625"/>
                <a:gd name="connsiteY1" fmla="*/ 35719 h 38100"/>
                <a:gd name="connsiteX2" fmla="*/ 7144 w 47625"/>
                <a:gd name="connsiteY2" fmla="*/ 21431 h 38100"/>
                <a:gd name="connsiteX3" fmla="*/ 24289 w 47625"/>
                <a:gd name="connsiteY3" fmla="*/ 7144 h 38100"/>
                <a:gd name="connsiteX4" fmla="*/ 41434 w 47625"/>
                <a:gd name="connsiteY4" fmla="*/ 2143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38100">
                  <a:moveTo>
                    <a:pt x="41434" y="21431"/>
                  </a:moveTo>
                  <a:cubicBezTo>
                    <a:pt x="41434" y="29322"/>
                    <a:pt x="33758" y="35719"/>
                    <a:pt x="24289" y="35719"/>
                  </a:cubicBezTo>
                  <a:cubicBezTo>
                    <a:pt x="14820" y="35719"/>
                    <a:pt x="7144" y="29322"/>
                    <a:pt x="7144" y="21431"/>
                  </a:cubicBezTo>
                  <a:cubicBezTo>
                    <a:pt x="7144" y="13540"/>
                    <a:pt x="14820" y="7144"/>
                    <a:pt x="24289" y="7144"/>
                  </a:cubicBezTo>
                  <a:cubicBezTo>
                    <a:pt x="33758" y="7144"/>
                    <a:pt x="41434" y="13540"/>
                    <a:pt x="41434" y="21431"/>
                  </a:cubicBezTo>
                  <a:close/>
                </a:path>
              </a:pathLst>
            </a:custGeom>
            <a:solidFill>
              <a:srgbClr val="FFFFFF"/>
            </a:solidFill>
            <a:ln w="9525" cap="flat">
              <a:noFill/>
              <a:prstDash val="solid"/>
              <a:miter/>
            </a:ln>
          </p:spPr>
          <p:txBody>
            <a:bodyPr rtlCol="0" anchor="ctr"/>
            <a:lstStyle/>
            <a:p>
              <a:endParaRPr lang="nb-NO" sz="900"/>
            </a:p>
          </p:txBody>
        </p:sp>
        <p:sp>
          <p:nvSpPr>
            <p:cNvPr id="13" name="Freeform: Shape 12">
              <a:extLst>
                <a:ext uri="{FF2B5EF4-FFF2-40B4-BE49-F238E27FC236}">
                  <a16:creationId xmlns:a16="http://schemas.microsoft.com/office/drawing/2014/main" id="{D9D3FDF5-269D-470B-BB33-6E5908512C64}"/>
                </a:ext>
              </a:extLst>
            </p:cNvPr>
            <p:cNvSpPr/>
            <p:nvPr/>
          </p:nvSpPr>
          <p:spPr>
            <a:xfrm>
              <a:off x="6206388" y="3959569"/>
              <a:ext cx="228600" cy="209550"/>
            </a:xfrm>
            <a:custGeom>
              <a:avLst/>
              <a:gdLst>
                <a:gd name="connsiteX0" fmla="*/ 16246 w 228600"/>
                <a:gd name="connsiteY0" fmla="*/ 9642 h 209550"/>
                <a:gd name="connsiteX1" fmla="*/ 161026 w 228600"/>
                <a:gd name="connsiteY1" fmla="*/ 210619 h 209550"/>
                <a:gd name="connsiteX2" fmla="*/ 216271 w 228600"/>
                <a:gd name="connsiteY2" fmla="*/ 102034 h 209550"/>
                <a:gd name="connsiteX3" fmla="*/ 16246 w 228600"/>
                <a:gd name="connsiteY3" fmla="*/ 9642 h 209550"/>
              </a:gdLst>
              <a:ahLst/>
              <a:cxnLst>
                <a:cxn ang="0">
                  <a:pos x="connsiteX0" y="connsiteY0"/>
                </a:cxn>
                <a:cxn ang="0">
                  <a:pos x="connsiteX1" y="connsiteY1"/>
                </a:cxn>
                <a:cxn ang="0">
                  <a:pos x="connsiteX2" y="connsiteY2"/>
                </a:cxn>
                <a:cxn ang="0">
                  <a:pos x="connsiteX3" y="connsiteY3"/>
                </a:cxn>
              </a:cxnLst>
              <a:rect l="l" t="t" r="r" b="b"/>
              <a:pathLst>
                <a:path w="228600" h="209550">
                  <a:moveTo>
                    <a:pt x="16246" y="9642"/>
                  </a:moveTo>
                  <a:cubicBezTo>
                    <a:pt x="-30427" y="13452"/>
                    <a:pt x="115306" y="202999"/>
                    <a:pt x="161026" y="210619"/>
                  </a:cubicBezTo>
                  <a:cubicBezTo>
                    <a:pt x="184838" y="214429"/>
                    <a:pt x="239131" y="144897"/>
                    <a:pt x="216271" y="102034"/>
                  </a:cubicBezTo>
                  <a:cubicBezTo>
                    <a:pt x="165788" y="10594"/>
                    <a:pt x="124831" y="1069"/>
                    <a:pt x="16246" y="9642"/>
                  </a:cubicBezTo>
                  <a:close/>
                </a:path>
              </a:pathLst>
            </a:custGeom>
            <a:solidFill>
              <a:srgbClr val="FFAB91"/>
            </a:solidFill>
            <a:ln w="9525" cap="flat">
              <a:noFill/>
              <a:prstDash val="solid"/>
              <a:miter/>
            </a:ln>
          </p:spPr>
          <p:txBody>
            <a:bodyPr rtlCol="0" anchor="ctr"/>
            <a:lstStyle/>
            <a:p>
              <a:endParaRPr lang="nb-NO" sz="900"/>
            </a:p>
          </p:txBody>
        </p:sp>
        <p:sp>
          <p:nvSpPr>
            <p:cNvPr id="14" name="Freeform: Shape 13">
              <a:extLst>
                <a:ext uri="{FF2B5EF4-FFF2-40B4-BE49-F238E27FC236}">
                  <a16:creationId xmlns:a16="http://schemas.microsoft.com/office/drawing/2014/main" id="{3AA91319-066B-473D-8027-833531BB01AC}"/>
                </a:ext>
              </a:extLst>
            </p:cNvPr>
            <p:cNvSpPr/>
            <p:nvPr/>
          </p:nvSpPr>
          <p:spPr>
            <a:xfrm>
              <a:off x="6416824" y="3776846"/>
              <a:ext cx="95250" cy="114300"/>
            </a:xfrm>
            <a:custGeom>
              <a:avLst/>
              <a:gdLst>
                <a:gd name="connsiteX0" fmla="*/ 43935 w 95250"/>
                <a:gd name="connsiteY0" fmla="*/ 101878 h 114300"/>
                <a:gd name="connsiteX1" fmla="*/ 89655 w 95250"/>
                <a:gd name="connsiteY1" fmla="*/ 100925 h 114300"/>
                <a:gd name="connsiteX2" fmla="*/ 26790 w 95250"/>
                <a:gd name="connsiteY2" fmla="*/ 7580 h 114300"/>
                <a:gd name="connsiteX3" fmla="*/ 43935 w 95250"/>
                <a:gd name="connsiteY3" fmla="*/ 101878 h 114300"/>
              </a:gdLst>
              <a:ahLst/>
              <a:cxnLst>
                <a:cxn ang="0">
                  <a:pos x="connsiteX0" y="connsiteY0"/>
                </a:cxn>
                <a:cxn ang="0">
                  <a:pos x="connsiteX1" y="connsiteY1"/>
                </a:cxn>
                <a:cxn ang="0">
                  <a:pos x="connsiteX2" y="connsiteY2"/>
                </a:cxn>
                <a:cxn ang="0">
                  <a:pos x="connsiteX3" y="connsiteY3"/>
                </a:cxn>
              </a:cxnLst>
              <a:rect l="l" t="t" r="r" b="b"/>
              <a:pathLst>
                <a:path w="95250" h="114300">
                  <a:moveTo>
                    <a:pt x="43935" y="101878"/>
                  </a:moveTo>
                  <a:cubicBezTo>
                    <a:pt x="43935" y="101878"/>
                    <a:pt x="86798" y="122833"/>
                    <a:pt x="89655" y="100925"/>
                  </a:cubicBezTo>
                  <a:cubicBezTo>
                    <a:pt x="92513" y="79018"/>
                    <a:pt x="48698" y="12343"/>
                    <a:pt x="26790" y="7580"/>
                  </a:cubicBezTo>
                  <a:cubicBezTo>
                    <a:pt x="5835" y="1865"/>
                    <a:pt x="-10357" y="53300"/>
                    <a:pt x="43935" y="101878"/>
                  </a:cubicBezTo>
                  <a:close/>
                </a:path>
              </a:pathLst>
            </a:custGeom>
            <a:solidFill>
              <a:srgbClr val="FFAB91"/>
            </a:solidFill>
            <a:ln w="9525" cap="flat">
              <a:noFill/>
              <a:prstDash val="solid"/>
              <a:miter/>
            </a:ln>
          </p:spPr>
          <p:txBody>
            <a:bodyPr rtlCol="0" anchor="ctr"/>
            <a:lstStyle/>
            <a:p>
              <a:endParaRPr lang="nb-NO" sz="900"/>
            </a:p>
          </p:txBody>
        </p:sp>
        <p:sp>
          <p:nvSpPr>
            <p:cNvPr id="15" name="Freeform: Shape 14">
              <a:extLst>
                <a:ext uri="{FF2B5EF4-FFF2-40B4-BE49-F238E27FC236}">
                  <a16:creationId xmlns:a16="http://schemas.microsoft.com/office/drawing/2014/main" id="{EB5AA340-BBA4-45AC-888E-4DD38ED25615}"/>
                </a:ext>
              </a:extLst>
            </p:cNvPr>
            <p:cNvSpPr/>
            <p:nvPr/>
          </p:nvSpPr>
          <p:spPr>
            <a:xfrm>
              <a:off x="6999867" y="4707559"/>
              <a:ext cx="1428750" cy="2828925"/>
            </a:xfrm>
            <a:custGeom>
              <a:avLst/>
              <a:gdLst>
                <a:gd name="connsiteX0" fmla="*/ 936314 w 1428750"/>
                <a:gd name="connsiteY0" fmla="*/ 210342 h 2828925"/>
                <a:gd name="connsiteX1" fmla="*/ 1089667 w 1428750"/>
                <a:gd name="connsiteY1" fmla="*/ 1067592 h 2828925"/>
                <a:gd name="connsiteX2" fmla="*/ 1422090 w 1428750"/>
                <a:gd name="connsiteY2" fmla="*/ 2247740 h 2828925"/>
                <a:gd name="connsiteX3" fmla="*/ 688664 w 1428750"/>
                <a:gd name="connsiteY3" fmla="*/ 2823050 h 2828925"/>
                <a:gd name="connsiteX4" fmla="*/ 9532 w 1428750"/>
                <a:gd name="connsiteY4" fmla="*/ 1662905 h 2828925"/>
                <a:gd name="connsiteX5" fmla="*/ 54299 w 1428750"/>
                <a:gd name="connsiteY5" fmla="*/ 815180 h 2828925"/>
                <a:gd name="connsiteX6" fmla="*/ 936314 w 1428750"/>
                <a:gd name="connsiteY6" fmla="*/ 210342 h 2828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0" h="2828925">
                  <a:moveTo>
                    <a:pt x="936314" y="210342"/>
                  </a:moveTo>
                  <a:cubicBezTo>
                    <a:pt x="936314" y="210342"/>
                    <a:pt x="1075380" y="497997"/>
                    <a:pt x="1089667" y="1067592"/>
                  </a:cubicBezTo>
                  <a:cubicBezTo>
                    <a:pt x="1103955" y="1637187"/>
                    <a:pt x="1372559" y="1875312"/>
                    <a:pt x="1422090" y="2247740"/>
                  </a:cubicBezTo>
                  <a:cubicBezTo>
                    <a:pt x="1471620" y="2620167"/>
                    <a:pt x="1228732" y="2792570"/>
                    <a:pt x="688664" y="2823050"/>
                  </a:cubicBezTo>
                  <a:cubicBezTo>
                    <a:pt x="148597" y="2852577"/>
                    <a:pt x="-15233" y="1891505"/>
                    <a:pt x="9532" y="1662905"/>
                  </a:cubicBezTo>
                  <a:cubicBezTo>
                    <a:pt x="34297" y="1434305"/>
                    <a:pt x="88589" y="983772"/>
                    <a:pt x="54299" y="815180"/>
                  </a:cubicBezTo>
                  <a:cubicBezTo>
                    <a:pt x="20009" y="646587"/>
                    <a:pt x="227655" y="-434500"/>
                    <a:pt x="936314" y="210342"/>
                  </a:cubicBezTo>
                  <a:close/>
                </a:path>
              </a:pathLst>
            </a:custGeom>
            <a:solidFill>
              <a:schemeClr val="accent6">
                <a:lumMod val="60000"/>
                <a:lumOff val="40000"/>
              </a:schemeClr>
            </a:solidFill>
            <a:ln w="9525" cap="flat">
              <a:noFill/>
              <a:prstDash val="solid"/>
              <a:miter/>
            </a:ln>
          </p:spPr>
          <p:txBody>
            <a:bodyPr rtlCol="0" anchor="ctr"/>
            <a:lstStyle/>
            <a:p>
              <a:endParaRPr lang="nb-NO" sz="900"/>
            </a:p>
          </p:txBody>
        </p:sp>
        <p:sp>
          <p:nvSpPr>
            <p:cNvPr id="16" name="Freeform: Shape 15">
              <a:extLst>
                <a:ext uri="{FF2B5EF4-FFF2-40B4-BE49-F238E27FC236}">
                  <a16:creationId xmlns:a16="http://schemas.microsoft.com/office/drawing/2014/main" id="{2693B244-BC0D-4D30-AF82-7033C25B6868}"/>
                </a:ext>
              </a:extLst>
            </p:cNvPr>
            <p:cNvSpPr/>
            <p:nvPr/>
          </p:nvSpPr>
          <p:spPr>
            <a:xfrm>
              <a:off x="7119413" y="5611797"/>
              <a:ext cx="638175" cy="1123950"/>
            </a:xfrm>
            <a:custGeom>
              <a:avLst/>
              <a:gdLst>
                <a:gd name="connsiteX0" fmla="*/ 504349 w 638175"/>
                <a:gd name="connsiteY0" fmla="*/ 45244 h 1123950"/>
                <a:gd name="connsiteX1" fmla="*/ 621506 w 638175"/>
                <a:gd name="connsiteY1" fmla="*/ 907256 h 1123950"/>
                <a:gd name="connsiteX2" fmla="*/ 107156 w 638175"/>
                <a:gd name="connsiteY2" fmla="*/ 1122521 h 1123950"/>
                <a:gd name="connsiteX3" fmla="*/ 7144 w 638175"/>
                <a:gd name="connsiteY3" fmla="*/ 719614 h 1123950"/>
                <a:gd name="connsiteX4" fmla="*/ 321469 w 638175"/>
                <a:gd name="connsiteY4" fmla="*/ 7144 h 1123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5" h="1123950">
                  <a:moveTo>
                    <a:pt x="504349" y="45244"/>
                  </a:moveTo>
                  <a:cubicBezTo>
                    <a:pt x="504349" y="45244"/>
                    <a:pt x="502444" y="796766"/>
                    <a:pt x="621506" y="907256"/>
                  </a:cubicBezTo>
                  <a:cubicBezTo>
                    <a:pt x="740569" y="1017746"/>
                    <a:pt x="107156" y="1122521"/>
                    <a:pt x="107156" y="1122521"/>
                  </a:cubicBezTo>
                  <a:lnTo>
                    <a:pt x="7144" y="719614"/>
                  </a:lnTo>
                  <a:lnTo>
                    <a:pt x="321469" y="7144"/>
                  </a:lnTo>
                </a:path>
              </a:pathLst>
            </a:custGeom>
            <a:solidFill>
              <a:schemeClr val="accent6">
                <a:lumMod val="40000"/>
                <a:lumOff val="60000"/>
              </a:schemeClr>
            </a:solidFill>
            <a:ln w="9525" cap="flat">
              <a:noFill/>
              <a:prstDash val="solid"/>
              <a:miter/>
            </a:ln>
          </p:spPr>
          <p:txBody>
            <a:bodyPr rtlCol="0" anchor="ctr"/>
            <a:lstStyle/>
            <a:p>
              <a:endParaRPr lang="nb-NO" sz="900"/>
            </a:p>
          </p:txBody>
        </p:sp>
        <p:sp>
          <p:nvSpPr>
            <p:cNvPr id="17" name="Freeform: Shape 16">
              <a:extLst>
                <a:ext uri="{FF2B5EF4-FFF2-40B4-BE49-F238E27FC236}">
                  <a16:creationId xmlns:a16="http://schemas.microsoft.com/office/drawing/2014/main" id="{F0CD07CB-1902-4B63-99DF-1968F8D7402F}"/>
                </a:ext>
              </a:extLst>
            </p:cNvPr>
            <p:cNvSpPr/>
            <p:nvPr/>
          </p:nvSpPr>
          <p:spPr>
            <a:xfrm>
              <a:off x="4615591" y="6510957"/>
              <a:ext cx="3829050" cy="3743325"/>
            </a:xfrm>
            <a:custGeom>
              <a:avLst/>
              <a:gdLst>
                <a:gd name="connsiteX0" fmla="*/ 3813034 w 3829050"/>
                <a:gd name="connsiteY0" fmla="*/ 651034 h 3743325"/>
                <a:gd name="connsiteX1" fmla="*/ 3813034 w 3829050"/>
                <a:gd name="connsiteY1" fmla="*/ 651034 h 3743325"/>
                <a:gd name="connsiteX2" fmla="*/ 3369169 w 3829050"/>
                <a:gd name="connsiteY2" fmla="*/ 1066324 h 3743325"/>
                <a:gd name="connsiteX3" fmla="*/ 589773 w 3829050"/>
                <a:gd name="connsiteY3" fmla="*/ 1179671 h 3743325"/>
                <a:gd name="connsiteX4" fmla="*/ 897431 w 3829050"/>
                <a:gd name="connsiteY4" fmla="*/ 1922621 h 3743325"/>
                <a:gd name="connsiteX5" fmla="*/ 897431 w 3829050"/>
                <a:gd name="connsiteY5" fmla="*/ 1922621 h 3743325"/>
                <a:gd name="connsiteX6" fmla="*/ 1123173 w 3829050"/>
                <a:gd name="connsiteY6" fmla="*/ 3481864 h 3743325"/>
                <a:gd name="connsiteX7" fmla="*/ 420228 w 3829050"/>
                <a:gd name="connsiteY7" fmla="*/ 3739991 h 3743325"/>
                <a:gd name="connsiteX8" fmla="*/ 306881 w 3829050"/>
                <a:gd name="connsiteY8" fmla="*/ 2883694 h 3743325"/>
                <a:gd name="connsiteX9" fmla="*/ 7796 w 3829050"/>
                <a:gd name="connsiteY9" fmla="*/ 693896 h 3743325"/>
                <a:gd name="connsiteX10" fmla="*/ 1227948 w 3829050"/>
                <a:gd name="connsiteY10" fmla="*/ 79534 h 3743325"/>
                <a:gd name="connsiteX11" fmla="*/ 3341546 w 3829050"/>
                <a:gd name="connsiteY11" fmla="*/ 7144 h 3743325"/>
                <a:gd name="connsiteX12" fmla="*/ 3542523 w 3829050"/>
                <a:gd name="connsiteY12" fmla="*/ 74771 h 3743325"/>
                <a:gd name="connsiteX13" fmla="*/ 3778744 w 3829050"/>
                <a:gd name="connsiteY13" fmla="*/ 311944 h 3743325"/>
                <a:gd name="connsiteX14" fmla="*/ 3813034 w 3829050"/>
                <a:gd name="connsiteY14" fmla="*/ 651034 h 37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29050" h="3743325">
                  <a:moveTo>
                    <a:pt x="3813034" y="651034"/>
                  </a:moveTo>
                  <a:lnTo>
                    <a:pt x="3813034" y="651034"/>
                  </a:lnTo>
                  <a:cubicBezTo>
                    <a:pt x="3774934" y="784384"/>
                    <a:pt x="3658729" y="934879"/>
                    <a:pt x="3369169" y="1066324"/>
                  </a:cubicBezTo>
                  <a:cubicBezTo>
                    <a:pt x="2747186" y="1349216"/>
                    <a:pt x="589773" y="1179671"/>
                    <a:pt x="589773" y="1179671"/>
                  </a:cubicBezTo>
                  <a:cubicBezTo>
                    <a:pt x="707883" y="1428274"/>
                    <a:pt x="811706" y="1679734"/>
                    <a:pt x="897431" y="1922621"/>
                  </a:cubicBezTo>
                  <a:cubicBezTo>
                    <a:pt x="897431" y="1922621"/>
                    <a:pt x="897431" y="1922621"/>
                    <a:pt x="897431" y="1922621"/>
                  </a:cubicBezTo>
                  <a:cubicBezTo>
                    <a:pt x="1153653" y="2644616"/>
                    <a:pt x="1255571" y="3282791"/>
                    <a:pt x="1123173" y="3481864"/>
                  </a:cubicBezTo>
                  <a:cubicBezTo>
                    <a:pt x="945056" y="3748564"/>
                    <a:pt x="420228" y="3739991"/>
                    <a:pt x="420228" y="3739991"/>
                  </a:cubicBezTo>
                  <a:cubicBezTo>
                    <a:pt x="420228" y="3739991"/>
                    <a:pt x="331646" y="3594259"/>
                    <a:pt x="306881" y="2883694"/>
                  </a:cubicBezTo>
                  <a:cubicBezTo>
                    <a:pt x="282116" y="2173129"/>
                    <a:pt x="-8397" y="1001554"/>
                    <a:pt x="7796" y="693896"/>
                  </a:cubicBezTo>
                  <a:cubicBezTo>
                    <a:pt x="23988" y="387191"/>
                    <a:pt x="605966" y="152876"/>
                    <a:pt x="1227948" y="79534"/>
                  </a:cubicBezTo>
                  <a:cubicBezTo>
                    <a:pt x="1752776" y="18574"/>
                    <a:pt x="2971976" y="8096"/>
                    <a:pt x="3341546" y="7144"/>
                  </a:cubicBezTo>
                  <a:cubicBezTo>
                    <a:pt x="3414888" y="7144"/>
                    <a:pt x="3485373" y="30956"/>
                    <a:pt x="3542523" y="74771"/>
                  </a:cubicBezTo>
                  <a:cubicBezTo>
                    <a:pt x="3632059" y="143351"/>
                    <a:pt x="3757788" y="248126"/>
                    <a:pt x="3778744" y="311944"/>
                  </a:cubicBezTo>
                  <a:cubicBezTo>
                    <a:pt x="3797794" y="367189"/>
                    <a:pt x="3856848" y="498634"/>
                    <a:pt x="3813034" y="651034"/>
                  </a:cubicBezTo>
                  <a:close/>
                </a:path>
              </a:pathLst>
            </a:custGeom>
            <a:solidFill>
              <a:srgbClr val="6988E8"/>
            </a:solidFill>
            <a:ln w="9525" cap="flat">
              <a:noFill/>
              <a:prstDash val="solid"/>
              <a:miter/>
            </a:ln>
          </p:spPr>
          <p:txBody>
            <a:bodyPr rtlCol="0" anchor="ctr"/>
            <a:lstStyle/>
            <a:p>
              <a:endParaRPr lang="nb-NO" sz="900"/>
            </a:p>
          </p:txBody>
        </p:sp>
        <p:sp>
          <p:nvSpPr>
            <p:cNvPr id="18" name="Freeform: Shape 17">
              <a:extLst>
                <a:ext uri="{FF2B5EF4-FFF2-40B4-BE49-F238E27FC236}">
                  <a16:creationId xmlns:a16="http://schemas.microsoft.com/office/drawing/2014/main" id="{94A3DAEE-2A4B-4E8E-BA2D-0858BB6C5775}"/>
                </a:ext>
              </a:extLst>
            </p:cNvPr>
            <p:cNvSpPr/>
            <p:nvPr/>
          </p:nvSpPr>
          <p:spPr>
            <a:xfrm>
              <a:off x="5506350" y="6586205"/>
              <a:ext cx="457200" cy="190500"/>
            </a:xfrm>
            <a:custGeom>
              <a:avLst/>
              <a:gdLst>
                <a:gd name="connsiteX0" fmla="*/ 300994 w 457200"/>
                <a:gd name="connsiteY0" fmla="*/ 25241 h 190500"/>
                <a:gd name="connsiteX1" fmla="*/ 87634 w 457200"/>
                <a:gd name="connsiteY1" fmla="*/ 43339 h 190500"/>
                <a:gd name="connsiteX2" fmla="*/ 41914 w 457200"/>
                <a:gd name="connsiteY2" fmla="*/ 175736 h 190500"/>
                <a:gd name="connsiteX3" fmla="*/ 361001 w 457200"/>
                <a:gd name="connsiteY3" fmla="*/ 158591 h 190500"/>
                <a:gd name="connsiteX4" fmla="*/ 447679 w 457200"/>
                <a:gd name="connsiteY4" fmla="*/ 103346 h 190500"/>
                <a:gd name="connsiteX5" fmla="*/ 424819 w 457200"/>
                <a:gd name="connsiteY5" fmla="*/ 7144 h 190500"/>
                <a:gd name="connsiteX6" fmla="*/ 300994 w 457200"/>
                <a:gd name="connsiteY6" fmla="*/ 25241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200" h="190500">
                  <a:moveTo>
                    <a:pt x="300994" y="25241"/>
                  </a:moveTo>
                  <a:cubicBezTo>
                    <a:pt x="223841" y="-3334"/>
                    <a:pt x="156214" y="14764"/>
                    <a:pt x="87634" y="43339"/>
                  </a:cubicBezTo>
                  <a:cubicBezTo>
                    <a:pt x="19054" y="71914"/>
                    <a:pt x="-28571" y="149066"/>
                    <a:pt x="41914" y="175736"/>
                  </a:cubicBezTo>
                  <a:cubicBezTo>
                    <a:pt x="112399" y="202406"/>
                    <a:pt x="310519" y="190976"/>
                    <a:pt x="361001" y="158591"/>
                  </a:cubicBezTo>
                  <a:cubicBezTo>
                    <a:pt x="411484" y="126206"/>
                    <a:pt x="420056" y="110966"/>
                    <a:pt x="447679" y="103346"/>
                  </a:cubicBezTo>
                  <a:cubicBezTo>
                    <a:pt x="475301" y="94774"/>
                    <a:pt x="424819" y="7144"/>
                    <a:pt x="424819" y="7144"/>
                  </a:cubicBezTo>
                  <a:cubicBezTo>
                    <a:pt x="424819" y="7144"/>
                    <a:pt x="346714" y="42386"/>
                    <a:pt x="300994" y="25241"/>
                  </a:cubicBezTo>
                  <a:close/>
                </a:path>
              </a:pathLst>
            </a:custGeom>
            <a:solidFill>
              <a:srgbClr val="FFAB91"/>
            </a:solidFill>
            <a:ln w="9525" cap="flat">
              <a:noFill/>
              <a:prstDash val="solid"/>
              <a:miter/>
            </a:ln>
          </p:spPr>
          <p:txBody>
            <a:bodyPr rtlCol="0" anchor="ctr"/>
            <a:lstStyle/>
            <a:p>
              <a:endParaRPr lang="nb-NO" sz="900"/>
            </a:p>
          </p:txBody>
        </p:sp>
        <p:sp>
          <p:nvSpPr>
            <p:cNvPr id="19" name="Freeform: Shape 18">
              <a:extLst>
                <a:ext uri="{FF2B5EF4-FFF2-40B4-BE49-F238E27FC236}">
                  <a16:creationId xmlns:a16="http://schemas.microsoft.com/office/drawing/2014/main" id="{26AAEC91-38B9-41C3-814B-BAD2367D8B1C}"/>
                </a:ext>
              </a:extLst>
            </p:cNvPr>
            <p:cNvSpPr/>
            <p:nvPr/>
          </p:nvSpPr>
          <p:spPr>
            <a:xfrm>
              <a:off x="6932489" y="3591154"/>
              <a:ext cx="857250" cy="933450"/>
            </a:xfrm>
            <a:custGeom>
              <a:avLst/>
              <a:gdLst>
                <a:gd name="connsiteX0" fmla="*/ 586498 w 857250"/>
                <a:gd name="connsiteY0" fmla="*/ 926697 h 933450"/>
                <a:gd name="connsiteX1" fmla="*/ 760805 w 857250"/>
                <a:gd name="connsiteY1" fmla="*/ 552365 h 933450"/>
                <a:gd name="connsiteX2" fmla="*/ 771283 w 857250"/>
                <a:gd name="connsiteY2" fmla="*/ 162792 h 933450"/>
                <a:gd name="connsiteX3" fmla="*/ 490295 w 857250"/>
                <a:gd name="connsiteY3" fmla="*/ 11345 h 933450"/>
                <a:gd name="connsiteX4" fmla="*/ 131203 w 857250"/>
                <a:gd name="connsiteY4" fmla="*/ 80877 h 933450"/>
                <a:gd name="connsiteX5" fmla="*/ 67385 w 857250"/>
                <a:gd name="connsiteY5" fmla="*/ 343767 h 933450"/>
                <a:gd name="connsiteX6" fmla="*/ 7378 w 857250"/>
                <a:gd name="connsiteY6" fmla="*/ 576177 h 933450"/>
                <a:gd name="connsiteX7" fmla="*/ 52145 w 857250"/>
                <a:gd name="connsiteY7" fmla="*/ 627612 h 933450"/>
                <a:gd name="connsiteX8" fmla="*/ 94055 w 857250"/>
                <a:gd name="connsiteY8" fmla="*/ 747627 h 933450"/>
                <a:gd name="connsiteX9" fmla="*/ 248360 w 857250"/>
                <a:gd name="connsiteY9" fmla="*/ 885740 h 933450"/>
                <a:gd name="connsiteX10" fmla="*/ 586498 w 857250"/>
                <a:gd name="connsiteY10" fmla="*/ 926697 h 93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50" h="933450">
                  <a:moveTo>
                    <a:pt x="586498" y="926697"/>
                  </a:moveTo>
                  <a:cubicBezTo>
                    <a:pt x="586498" y="926697"/>
                    <a:pt x="588403" y="743817"/>
                    <a:pt x="760805" y="552365"/>
                  </a:cubicBezTo>
                  <a:cubicBezTo>
                    <a:pt x="906538" y="390440"/>
                    <a:pt x="857008" y="239945"/>
                    <a:pt x="771283" y="162792"/>
                  </a:cubicBezTo>
                  <a:cubicBezTo>
                    <a:pt x="685558" y="85640"/>
                    <a:pt x="619835" y="25632"/>
                    <a:pt x="490295" y="11345"/>
                  </a:cubicBezTo>
                  <a:cubicBezTo>
                    <a:pt x="360755" y="-2943"/>
                    <a:pt x="175970" y="18965"/>
                    <a:pt x="131203" y="80877"/>
                  </a:cubicBezTo>
                  <a:cubicBezTo>
                    <a:pt x="86435" y="142790"/>
                    <a:pt x="28333" y="233277"/>
                    <a:pt x="67385" y="343767"/>
                  </a:cubicBezTo>
                  <a:cubicBezTo>
                    <a:pt x="104533" y="448542"/>
                    <a:pt x="12140" y="541887"/>
                    <a:pt x="7378" y="576177"/>
                  </a:cubicBezTo>
                  <a:cubicBezTo>
                    <a:pt x="4520" y="593322"/>
                    <a:pt x="28333" y="612372"/>
                    <a:pt x="52145" y="627612"/>
                  </a:cubicBezTo>
                  <a:cubicBezTo>
                    <a:pt x="92150" y="653330"/>
                    <a:pt x="91198" y="700002"/>
                    <a:pt x="94055" y="747627"/>
                  </a:cubicBezTo>
                  <a:cubicBezTo>
                    <a:pt x="97865" y="808587"/>
                    <a:pt x="109295" y="860975"/>
                    <a:pt x="248360" y="885740"/>
                  </a:cubicBezTo>
                  <a:cubicBezTo>
                    <a:pt x="386473" y="910505"/>
                    <a:pt x="586498" y="926697"/>
                    <a:pt x="586498" y="926697"/>
                  </a:cubicBezTo>
                  <a:close/>
                </a:path>
              </a:pathLst>
            </a:custGeom>
            <a:solidFill>
              <a:srgbClr val="FFAB91"/>
            </a:solidFill>
            <a:ln w="9525" cap="flat">
              <a:noFill/>
              <a:prstDash val="solid"/>
              <a:miter/>
            </a:ln>
          </p:spPr>
          <p:txBody>
            <a:bodyPr rtlCol="0" anchor="ctr"/>
            <a:lstStyle/>
            <a:p>
              <a:endParaRPr lang="nb-NO" sz="900"/>
            </a:p>
          </p:txBody>
        </p:sp>
        <p:sp>
          <p:nvSpPr>
            <p:cNvPr id="20" name="Freeform: Shape 19">
              <a:extLst>
                <a:ext uri="{FF2B5EF4-FFF2-40B4-BE49-F238E27FC236}">
                  <a16:creationId xmlns:a16="http://schemas.microsoft.com/office/drawing/2014/main" id="{8398D96D-46CF-46DE-A310-084C8390B1A3}"/>
                </a:ext>
              </a:extLst>
            </p:cNvPr>
            <p:cNvSpPr/>
            <p:nvPr/>
          </p:nvSpPr>
          <p:spPr>
            <a:xfrm>
              <a:off x="5904072" y="4857031"/>
              <a:ext cx="1885950" cy="1876425"/>
            </a:xfrm>
            <a:custGeom>
              <a:avLst/>
              <a:gdLst>
                <a:gd name="connsiteX0" fmla="*/ 1463467 w 1885950"/>
                <a:gd name="connsiteY0" fmla="*/ 151358 h 1876425"/>
                <a:gd name="connsiteX1" fmla="*/ 1131997 w 1885950"/>
                <a:gd name="connsiteY1" fmla="*/ 1300073 h 1876425"/>
                <a:gd name="connsiteX2" fmla="*/ 1019602 w 1885950"/>
                <a:gd name="connsiteY2" fmla="*/ 1405800 h 1876425"/>
                <a:gd name="connsiteX3" fmla="*/ 58530 w 1885950"/>
                <a:gd name="connsiteY3" fmla="*/ 1679168 h 1876425"/>
                <a:gd name="connsiteX4" fmla="*/ 9000 w 1885950"/>
                <a:gd name="connsiteY4" fmla="*/ 1762988 h 1876425"/>
                <a:gd name="connsiteX5" fmla="*/ 60435 w 1885950"/>
                <a:gd name="connsiteY5" fmla="*/ 1877288 h 1876425"/>
                <a:gd name="connsiteX6" fmla="*/ 1288207 w 1885950"/>
                <a:gd name="connsiteY6" fmla="*/ 1712505 h 1876425"/>
                <a:gd name="connsiteX7" fmla="*/ 1451085 w 1885950"/>
                <a:gd name="connsiteY7" fmla="*/ 1583918 h 1876425"/>
                <a:gd name="connsiteX8" fmla="*/ 1866375 w 1885950"/>
                <a:gd name="connsiteY8" fmla="*/ 298995 h 1876425"/>
                <a:gd name="connsiteX9" fmla="*/ 1679685 w 1885950"/>
                <a:gd name="connsiteY9" fmla="*/ 7530 h 1876425"/>
                <a:gd name="connsiteX10" fmla="*/ 1679685 w 1885950"/>
                <a:gd name="connsiteY10" fmla="*/ 7530 h 1876425"/>
                <a:gd name="connsiteX11" fmla="*/ 1463467 w 1885950"/>
                <a:gd name="connsiteY11" fmla="*/ 151358 h 187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85950" h="1876425">
                  <a:moveTo>
                    <a:pt x="1463467" y="151358"/>
                  </a:moveTo>
                  <a:lnTo>
                    <a:pt x="1131997" y="1300073"/>
                  </a:lnTo>
                  <a:cubicBezTo>
                    <a:pt x="1113900" y="1351508"/>
                    <a:pt x="1071990" y="1391513"/>
                    <a:pt x="1019602" y="1405800"/>
                  </a:cubicBezTo>
                  <a:lnTo>
                    <a:pt x="58530" y="1679168"/>
                  </a:lnTo>
                  <a:cubicBezTo>
                    <a:pt x="22335" y="1689645"/>
                    <a:pt x="427" y="1726793"/>
                    <a:pt x="9000" y="1762988"/>
                  </a:cubicBezTo>
                  <a:cubicBezTo>
                    <a:pt x="18525" y="1802993"/>
                    <a:pt x="34717" y="1851570"/>
                    <a:pt x="60435" y="1877288"/>
                  </a:cubicBezTo>
                  <a:lnTo>
                    <a:pt x="1288207" y="1712505"/>
                  </a:lnTo>
                  <a:cubicBezTo>
                    <a:pt x="1361550" y="1702980"/>
                    <a:pt x="1424415" y="1653450"/>
                    <a:pt x="1451085" y="1583918"/>
                  </a:cubicBezTo>
                  <a:lnTo>
                    <a:pt x="1866375" y="298995"/>
                  </a:lnTo>
                  <a:cubicBezTo>
                    <a:pt x="1918762" y="163740"/>
                    <a:pt x="1824465" y="16103"/>
                    <a:pt x="1679685" y="7530"/>
                  </a:cubicBezTo>
                  <a:lnTo>
                    <a:pt x="1679685" y="7530"/>
                  </a:lnTo>
                  <a:cubicBezTo>
                    <a:pt x="1583482" y="1815"/>
                    <a:pt x="1495852" y="59918"/>
                    <a:pt x="1463467" y="151358"/>
                  </a:cubicBezTo>
                  <a:close/>
                </a:path>
              </a:pathLst>
            </a:custGeom>
            <a:solidFill>
              <a:schemeClr val="accent6">
                <a:lumMod val="60000"/>
                <a:lumOff val="40000"/>
              </a:schemeClr>
            </a:solidFill>
            <a:ln w="9525" cap="flat">
              <a:noFill/>
              <a:prstDash val="solid"/>
              <a:miter/>
            </a:ln>
          </p:spPr>
          <p:txBody>
            <a:bodyPr rtlCol="0" anchor="ctr"/>
            <a:lstStyle/>
            <a:p>
              <a:endParaRPr lang="nb-NO" sz="900"/>
            </a:p>
          </p:txBody>
        </p:sp>
        <p:sp>
          <p:nvSpPr>
            <p:cNvPr id="21" name="Freeform: Shape 20">
              <a:extLst>
                <a:ext uri="{FF2B5EF4-FFF2-40B4-BE49-F238E27FC236}">
                  <a16:creationId xmlns:a16="http://schemas.microsoft.com/office/drawing/2014/main" id="{028C48CD-0758-4DFD-BDC4-7A2C1F0D1125}"/>
                </a:ext>
              </a:extLst>
            </p:cNvPr>
            <p:cNvSpPr/>
            <p:nvPr/>
          </p:nvSpPr>
          <p:spPr>
            <a:xfrm>
              <a:off x="6796813" y="3307065"/>
              <a:ext cx="2066925" cy="3248025"/>
            </a:xfrm>
            <a:custGeom>
              <a:avLst/>
              <a:gdLst>
                <a:gd name="connsiteX0" fmla="*/ 336411 w 2066925"/>
                <a:gd name="connsiteY0" fmla="*/ 494506 h 3248025"/>
                <a:gd name="connsiteX1" fmla="*/ 405944 w 2066925"/>
                <a:gd name="connsiteY1" fmla="*/ 706913 h 3248025"/>
                <a:gd name="connsiteX2" fmla="*/ 500241 w 2066925"/>
                <a:gd name="connsiteY2" fmla="*/ 1085056 h 3248025"/>
                <a:gd name="connsiteX3" fmla="*/ 743129 w 2066925"/>
                <a:gd name="connsiteY3" fmla="*/ 1532731 h 3248025"/>
                <a:gd name="connsiteX4" fmla="*/ 752654 w 2066925"/>
                <a:gd name="connsiteY4" fmla="*/ 2306161 h 3248025"/>
                <a:gd name="connsiteX5" fmla="*/ 1733729 w 2066925"/>
                <a:gd name="connsiteY5" fmla="*/ 3214846 h 3248025"/>
                <a:gd name="connsiteX6" fmla="*/ 1853744 w 2066925"/>
                <a:gd name="connsiteY6" fmla="*/ 2068036 h 3248025"/>
                <a:gd name="connsiteX7" fmla="*/ 1353681 w 2066925"/>
                <a:gd name="connsiteY7" fmla="*/ 1073626 h 3248025"/>
                <a:gd name="connsiteX8" fmla="*/ 1113651 w 2066925"/>
                <a:gd name="connsiteY8" fmla="*/ 345916 h 3248025"/>
                <a:gd name="connsiteX9" fmla="*/ 7799 w 2066925"/>
                <a:gd name="connsiteY9" fmla="*/ 484981 h 3248025"/>
                <a:gd name="connsiteX10" fmla="*/ 336411 w 2066925"/>
                <a:gd name="connsiteY10" fmla="*/ 494506 h 324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66925" h="3248025">
                  <a:moveTo>
                    <a:pt x="336411" y="494506"/>
                  </a:moveTo>
                  <a:cubicBezTo>
                    <a:pt x="336411" y="494506"/>
                    <a:pt x="302121" y="639286"/>
                    <a:pt x="405944" y="706913"/>
                  </a:cubicBezTo>
                  <a:cubicBezTo>
                    <a:pt x="510719" y="774541"/>
                    <a:pt x="537389" y="963136"/>
                    <a:pt x="500241" y="1085056"/>
                  </a:cubicBezTo>
                  <a:cubicBezTo>
                    <a:pt x="463094" y="1206976"/>
                    <a:pt x="566916" y="1393666"/>
                    <a:pt x="743129" y="1532731"/>
                  </a:cubicBezTo>
                  <a:cubicBezTo>
                    <a:pt x="1013639" y="1747043"/>
                    <a:pt x="724079" y="1924208"/>
                    <a:pt x="752654" y="2306161"/>
                  </a:cubicBezTo>
                  <a:cubicBezTo>
                    <a:pt x="822187" y="3212941"/>
                    <a:pt x="1551801" y="3308191"/>
                    <a:pt x="1733729" y="3214846"/>
                  </a:cubicBezTo>
                  <a:cubicBezTo>
                    <a:pt x="2226171" y="2963386"/>
                    <a:pt x="2076629" y="2289016"/>
                    <a:pt x="1853744" y="2068036"/>
                  </a:cubicBezTo>
                  <a:cubicBezTo>
                    <a:pt x="1674674" y="1889918"/>
                    <a:pt x="1436549" y="1532731"/>
                    <a:pt x="1353681" y="1073626"/>
                  </a:cubicBezTo>
                  <a:cubicBezTo>
                    <a:pt x="1278434" y="660241"/>
                    <a:pt x="1305104" y="704056"/>
                    <a:pt x="1113651" y="345916"/>
                  </a:cubicBezTo>
                  <a:cubicBezTo>
                    <a:pt x="833616" y="-177007"/>
                    <a:pt x="-19824" y="-66517"/>
                    <a:pt x="7799" y="484981"/>
                  </a:cubicBezTo>
                  <a:cubicBezTo>
                    <a:pt x="23991" y="802163"/>
                    <a:pt x="276404" y="536416"/>
                    <a:pt x="336411" y="494506"/>
                  </a:cubicBezTo>
                  <a:close/>
                </a:path>
              </a:pathLst>
            </a:custGeom>
            <a:solidFill>
              <a:srgbClr val="3B1D11"/>
            </a:solidFill>
            <a:ln w="9525" cap="flat">
              <a:noFill/>
              <a:prstDash val="solid"/>
              <a:miter/>
            </a:ln>
          </p:spPr>
          <p:txBody>
            <a:bodyPr rtlCol="0" anchor="ctr"/>
            <a:lstStyle/>
            <a:p>
              <a:endParaRPr lang="nb-NO" sz="900"/>
            </a:p>
          </p:txBody>
        </p:sp>
        <p:sp>
          <p:nvSpPr>
            <p:cNvPr id="22" name="Freeform: Shape 21">
              <a:extLst>
                <a:ext uri="{FF2B5EF4-FFF2-40B4-BE49-F238E27FC236}">
                  <a16:creationId xmlns:a16="http://schemas.microsoft.com/office/drawing/2014/main" id="{00C4FC11-9F5A-439D-BF66-BF8222E02575}"/>
                </a:ext>
              </a:extLst>
            </p:cNvPr>
            <p:cNvSpPr/>
            <p:nvPr/>
          </p:nvSpPr>
          <p:spPr>
            <a:xfrm>
              <a:off x="7155608" y="3954447"/>
              <a:ext cx="76200" cy="219075"/>
            </a:xfrm>
            <a:custGeom>
              <a:avLst/>
              <a:gdLst>
                <a:gd name="connsiteX0" fmla="*/ 7144 w 76200"/>
                <a:gd name="connsiteY0" fmla="*/ 21431 h 219075"/>
                <a:gd name="connsiteX1" fmla="*/ 53816 w 76200"/>
                <a:gd name="connsiteY1" fmla="*/ 220504 h 219075"/>
                <a:gd name="connsiteX2" fmla="*/ 56674 w 76200"/>
                <a:gd name="connsiteY2" fmla="*/ 7144 h 219075"/>
              </a:gdLst>
              <a:ahLst/>
              <a:cxnLst>
                <a:cxn ang="0">
                  <a:pos x="connsiteX0" y="connsiteY0"/>
                </a:cxn>
                <a:cxn ang="0">
                  <a:pos x="connsiteX1" y="connsiteY1"/>
                </a:cxn>
                <a:cxn ang="0">
                  <a:pos x="connsiteX2" y="connsiteY2"/>
                </a:cxn>
              </a:cxnLst>
              <a:rect l="l" t="t" r="r" b="b"/>
              <a:pathLst>
                <a:path w="76200" h="219075">
                  <a:moveTo>
                    <a:pt x="7144" y="21431"/>
                  </a:moveTo>
                  <a:cubicBezTo>
                    <a:pt x="7144" y="21431"/>
                    <a:pt x="70009" y="87154"/>
                    <a:pt x="53816" y="220504"/>
                  </a:cubicBezTo>
                  <a:cubicBezTo>
                    <a:pt x="53816" y="220504"/>
                    <a:pt x="91916" y="117634"/>
                    <a:pt x="56674" y="7144"/>
                  </a:cubicBezTo>
                </a:path>
              </a:pathLst>
            </a:custGeom>
            <a:solidFill>
              <a:srgbClr val="3B1D11"/>
            </a:solidFill>
            <a:ln w="9525" cap="flat">
              <a:noFill/>
              <a:prstDash val="solid"/>
              <a:miter/>
            </a:ln>
          </p:spPr>
          <p:txBody>
            <a:bodyPr rtlCol="0" anchor="ctr"/>
            <a:lstStyle/>
            <a:p>
              <a:endParaRPr lang="nb-NO" sz="900"/>
            </a:p>
          </p:txBody>
        </p:sp>
        <p:sp>
          <p:nvSpPr>
            <p:cNvPr id="23" name="Freeform: Shape 22">
              <a:extLst>
                <a:ext uri="{FF2B5EF4-FFF2-40B4-BE49-F238E27FC236}">
                  <a16:creationId xmlns:a16="http://schemas.microsoft.com/office/drawing/2014/main" id="{6B9057A2-B0FD-4E4D-8734-197A3717C39C}"/>
                </a:ext>
              </a:extLst>
            </p:cNvPr>
            <p:cNvSpPr/>
            <p:nvPr/>
          </p:nvSpPr>
          <p:spPr>
            <a:xfrm>
              <a:off x="3719254" y="7295585"/>
              <a:ext cx="657225" cy="200025"/>
            </a:xfrm>
            <a:custGeom>
              <a:avLst/>
              <a:gdLst>
                <a:gd name="connsiteX0" fmla="*/ 628860 w 657225"/>
                <a:gd name="connsiteY0" fmla="*/ 160729 h 200025"/>
                <a:gd name="connsiteX1" fmla="*/ 608857 w 657225"/>
                <a:gd name="connsiteY1" fmla="*/ 43572 h 200025"/>
                <a:gd name="connsiteX2" fmla="*/ 449790 w 657225"/>
                <a:gd name="connsiteY2" fmla="*/ 7376 h 200025"/>
                <a:gd name="connsiteX3" fmla="*/ 36405 w 657225"/>
                <a:gd name="connsiteY3" fmla="*/ 78814 h 200025"/>
                <a:gd name="connsiteX4" fmla="*/ 67837 w 657225"/>
                <a:gd name="connsiteY4" fmla="*/ 198829 h 200025"/>
                <a:gd name="connsiteX5" fmla="*/ 532657 w 657225"/>
                <a:gd name="connsiteY5" fmla="*/ 198829 h 200025"/>
                <a:gd name="connsiteX6" fmla="*/ 628860 w 657225"/>
                <a:gd name="connsiteY6" fmla="*/ 160729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7225" h="200025">
                  <a:moveTo>
                    <a:pt x="628860" y="160729"/>
                  </a:moveTo>
                  <a:cubicBezTo>
                    <a:pt x="666960" y="126439"/>
                    <a:pt x="656482" y="63574"/>
                    <a:pt x="608857" y="43572"/>
                  </a:cubicBezTo>
                  <a:cubicBezTo>
                    <a:pt x="579330" y="31189"/>
                    <a:pt x="507892" y="8329"/>
                    <a:pt x="449790" y="7376"/>
                  </a:cubicBezTo>
                  <a:cubicBezTo>
                    <a:pt x="284055" y="3566"/>
                    <a:pt x="85935" y="47381"/>
                    <a:pt x="36405" y="78814"/>
                  </a:cubicBezTo>
                  <a:cubicBezTo>
                    <a:pt x="-13125" y="110247"/>
                    <a:pt x="2115" y="191209"/>
                    <a:pt x="67837" y="198829"/>
                  </a:cubicBezTo>
                  <a:cubicBezTo>
                    <a:pt x="133560" y="206449"/>
                    <a:pt x="532657" y="198829"/>
                    <a:pt x="532657" y="198829"/>
                  </a:cubicBezTo>
                  <a:cubicBezTo>
                    <a:pt x="532657" y="198829"/>
                    <a:pt x="588855" y="196924"/>
                    <a:pt x="628860" y="160729"/>
                  </a:cubicBezTo>
                  <a:close/>
                </a:path>
              </a:pathLst>
            </a:custGeom>
            <a:solidFill>
              <a:schemeClr val="accent2">
                <a:lumMod val="40000"/>
                <a:lumOff val="60000"/>
              </a:schemeClr>
            </a:solidFill>
            <a:ln w="9525" cap="flat">
              <a:noFill/>
              <a:prstDash val="solid"/>
              <a:miter/>
            </a:ln>
          </p:spPr>
          <p:txBody>
            <a:bodyPr rtlCol="0" anchor="ctr"/>
            <a:lstStyle/>
            <a:p>
              <a:endParaRPr lang="nb-NO" sz="900"/>
            </a:p>
          </p:txBody>
        </p:sp>
        <p:sp>
          <p:nvSpPr>
            <p:cNvPr id="24" name="Freeform: Shape 23">
              <a:extLst>
                <a:ext uri="{FF2B5EF4-FFF2-40B4-BE49-F238E27FC236}">
                  <a16:creationId xmlns:a16="http://schemas.microsoft.com/office/drawing/2014/main" id="{E86CD03F-D3D0-4578-9E0A-62BB05AE5A32}"/>
                </a:ext>
              </a:extLst>
            </p:cNvPr>
            <p:cNvSpPr/>
            <p:nvPr/>
          </p:nvSpPr>
          <p:spPr>
            <a:xfrm>
              <a:off x="3713884" y="7411980"/>
              <a:ext cx="676275" cy="133350"/>
            </a:xfrm>
            <a:custGeom>
              <a:avLst/>
              <a:gdLst>
                <a:gd name="connsiteX0" fmla="*/ 7485 w 676275"/>
                <a:gd name="connsiteY0" fmla="*/ 58621 h 133350"/>
                <a:gd name="connsiteX1" fmla="*/ 7485 w 676275"/>
                <a:gd name="connsiteY1" fmla="*/ 59574 h 133350"/>
                <a:gd name="connsiteX2" fmla="*/ 69397 w 676275"/>
                <a:gd name="connsiteY2" fmla="*/ 127201 h 133350"/>
                <a:gd name="connsiteX3" fmla="*/ 670425 w 676275"/>
                <a:gd name="connsiteY3" fmla="*/ 120534 h 133350"/>
                <a:gd name="connsiteX4" fmla="*/ 670425 w 676275"/>
                <a:gd name="connsiteY4" fmla="*/ 41476 h 133350"/>
                <a:gd name="connsiteX5" fmla="*/ 633277 w 676275"/>
                <a:gd name="connsiteY5" fmla="*/ 7186 h 133350"/>
                <a:gd name="connsiteX6" fmla="*/ 7485 w 676275"/>
                <a:gd name="connsiteY6" fmla="*/ 5862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275" h="133350">
                  <a:moveTo>
                    <a:pt x="7485" y="58621"/>
                  </a:moveTo>
                  <a:lnTo>
                    <a:pt x="7485" y="59574"/>
                  </a:lnTo>
                  <a:cubicBezTo>
                    <a:pt x="3675" y="95768"/>
                    <a:pt x="32250" y="127201"/>
                    <a:pt x="69397" y="127201"/>
                  </a:cubicBezTo>
                  <a:lnTo>
                    <a:pt x="670425" y="120534"/>
                  </a:lnTo>
                  <a:lnTo>
                    <a:pt x="670425" y="41476"/>
                  </a:lnTo>
                  <a:cubicBezTo>
                    <a:pt x="670425" y="21474"/>
                    <a:pt x="653280" y="6234"/>
                    <a:pt x="633277" y="7186"/>
                  </a:cubicBezTo>
                  <a:lnTo>
                    <a:pt x="7485" y="58621"/>
                  </a:lnTo>
                  <a:close/>
                </a:path>
              </a:pathLst>
            </a:custGeom>
            <a:solidFill>
              <a:srgbClr val="22282B"/>
            </a:solidFill>
            <a:ln w="9525" cap="flat">
              <a:noFill/>
              <a:prstDash val="solid"/>
              <a:miter/>
            </a:ln>
          </p:spPr>
          <p:txBody>
            <a:bodyPr rtlCol="0" anchor="ctr"/>
            <a:lstStyle/>
            <a:p>
              <a:endParaRPr lang="nb-NO" sz="900"/>
            </a:p>
          </p:txBody>
        </p:sp>
        <p:sp>
          <p:nvSpPr>
            <p:cNvPr id="25" name="Freeform: Shape 24">
              <a:extLst>
                <a:ext uri="{FF2B5EF4-FFF2-40B4-BE49-F238E27FC236}">
                  <a16:creationId xmlns:a16="http://schemas.microsoft.com/office/drawing/2014/main" id="{C64961E6-BC73-4D16-B203-25E95D2FCC8D}"/>
                </a:ext>
              </a:extLst>
            </p:cNvPr>
            <p:cNvSpPr/>
            <p:nvPr/>
          </p:nvSpPr>
          <p:spPr>
            <a:xfrm>
              <a:off x="4166792" y="7280706"/>
              <a:ext cx="200025" cy="95250"/>
            </a:xfrm>
            <a:custGeom>
              <a:avLst/>
              <a:gdLst>
                <a:gd name="connsiteX0" fmla="*/ 198467 w 200025"/>
                <a:gd name="connsiteY0" fmla="*/ 81310 h 95250"/>
                <a:gd name="connsiteX1" fmla="*/ 198467 w 200025"/>
                <a:gd name="connsiteY1" fmla="*/ 81310 h 95250"/>
                <a:gd name="connsiteX2" fmla="*/ 187037 w 200025"/>
                <a:gd name="connsiteY2" fmla="*/ 58450 h 95250"/>
                <a:gd name="connsiteX3" fmla="*/ 30827 w 200025"/>
                <a:gd name="connsiteY3" fmla="*/ 7967 h 95250"/>
                <a:gd name="connsiteX4" fmla="*/ 7967 w 200025"/>
                <a:gd name="connsiteY4" fmla="*/ 19397 h 95250"/>
                <a:gd name="connsiteX5" fmla="*/ 7967 w 200025"/>
                <a:gd name="connsiteY5" fmla="*/ 19397 h 95250"/>
                <a:gd name="connsiteX6" fmla="*/ 19397 w 200025"/>
                <a:gd name="connsiteY6" fmla="*/ 42257 h 95250"/>
                <a:gd name="connsiteX7" fmla="*/ 175607 w 200025"/>
                <a:gd name="connsiteY7" fmla="*/ 92740 h 95250"/>
                <a:gd name="connsiteX8" fmla="*/ 198467 w 200025"/>
                <a:gd name="connsiteY8" fmla="*/ 8131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025" h="95250">
                  <a:moveTo>
                    <a:pt x="198467" y="81310"/>
                  </a:moveTo>
                  <a:lnTo>
                    <a:pt x="198467" y="81310"/>
                  </a:lnTo>
                  <a:cubicBezTo>
                    <a:pt x="201325" y="71785"/>
                    <a:pt x="196562" y="61307"/>
                    <a:pt x="187037" y="58450"/>
                  </a:cubicBezTo>
                  <a:lnTo>
                    <a:pt x="30827" y="7967"/>
                  </a:lnTo>
                  <a:cubicBezTo>
                    <a:pt x="21302" y="5110"/>
                    <a:pt x="10825" y="9872"/>
                    <a:pt x="7967" y="19397"/>
                  </a:cubicBezTo>
                  <a:lnTo>
                    <a:pt x="7967" y="19397"/>
                  </a:lnTo>
                  <a:cubicBezTo>
                    <a:pt x="5110" y="28922"/>
                    <a:pt x="9872" y="39400"/>
                    <a:pt x="19397" y="42257"/>
                  </a:cubicBezTo>
                  <a:lnTo>
                    <a:pt x="175607" y="92740"/>
                  </a:lnTo>
                  <a:cubicBezTo>
                    <a:pt x="185132" y="95597"/>
                    <a:pt x="195610" y="90835"/>
                    <a:pt x="198467" y="81310"/>
                  </a:cubicBezTo>
                  <a:close/>
                </a:path>
              </a:pathLst>
            </a:custGeom>
            <a:solidFill>
              <a:srgbClr val="22282B"/>
            </a:solidFill>
            <a:ln w="9525" cap="flat">
              <a:noFill/>
              <a:prstDash val="solid"/>
              <a:miter/>
            </a:ln>
          </p:spPr>
          <p:txBody>
            <a:bodyPr rtlCol="0" anchor="ctr"/>
            <a:lstStyle/>
            <a:p>
              <a:endParaRPr lang="nb-NO" sz="900"/>
            </a:p>
          </p:txBody>
        </p:sp>
        <p:sp>
          <p:nvSpPr>
            <p:cNvPr id="26" name="Freeform: Shape 25">
              <a:extLst>
                <a:ext uri="{FF2B5EF4-FFF2-40B4-BE49-F238E27FC236}">
                  <a16:creationId xmlns:a16="http://schemas.microsoft.com/office/drawing/2014/main" id="{157E2098-79AF-47BD-9225-D06B66803764}"/>
                </a:ext>
              </a:extLst>
            </p:cNvPr>
            <p:cNvSpPr/>
            <p:nvPr/>
          </p:nvSpPr>
          <p:spPr>
            <a:xfrm>
              <a:off x="3939938" y="7280548"/>
              <a:ext cx="85725" cy="85725"/>
            </a:xfrm>
            <a:custGeom>
              <a:avLst/>
              <a:gdLst>
                <a:gd name="connsiteX0" fmla="*/ 69086 w 85725"/>
                <a:gd name="connsiteY0" fmla="*/ 77658 h 85725"/>
                <a:gd name="connsiteX1" fmla="*/ 73848 w 85725"/>
                <a:gd name="connsiteY1" fmla="*/ 72896 h 85725"/>
                <a:gd name="connsiteX2" fmla="*/ 74801 w 85725"/>
                <a:gd name="connsiteY2" fmla="*/ 51941 h 85725"/>
                <a:gd name="connsiteX3" fmla="*/ 37653 w 85725"/>
                <a:gd name="connsiteY3" fmla="*/ 11936 h 85725"/>
                <a:gd name="connsiteX4" fmla="*/ 16698 w 85725"/>
                <a:gd name="connsiteY4" fmla="*/ 10983 h 85725"/>
                <a:gd name="connsiteX5" fmla="*/ 11936 w 85725"/>
                <a:gd name="connsiteY5" fmla="*/ 15746 h 85725"/>
                <a:gd name="connsiteX6" fmla="*/ 10983 w 85725"/>
                <a:gd name="connsiteY6" fmla="*/ 36701 h 85725"/>
                <a:gd name="connsiteX7" fmla="*/ 48131 w 85725"/>
                <a:gd name="connsiteY7" fmla="*/ 76706 h 85725"/>
                <a:gd name="connsiteX8" fmla="*/ 69086 w 85725"/>
                <a:gd name="connsiteY8" fmla="*/ 7765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85725">
                  <a:moveTo>
                    <a:pt x="69086" y="77658"/>
                  </a:moveTo>
                  <a:lnTo>
                    <a:pt x="73848" y="72896"/>
                  </a:lnTo>
                  <a:cubicBezTo>
                    <a:pt x="79563" y="67181"/>
                    <a:pt x="80516" y="57656"/>
                    <a:pt x="74801" y="51941"/>
                  </a:cubicBezTo>
                  <a:lnTo>
                    <a:pt x="37653" y="11936"/>
                  </a:lnTo>
                  <a:cubicBezTo>
                    <a:pt x="31938" y="6221"/>
                    <a:pt x="22413" y="5268"/>
                    <a:pt x="16698" y="10983"/>
                  </a:cubicBezTo>
                  <a:lnTo>
                    <a:pt x="11936" y="15746"/>
                  </a:lnTo>
                  <a:cubicBezTo>
                    <a:pt x="6221" y="21461"/>
                    <a:pt x="5268" y="30986"/>
                    <a:pt x="10983" y="36701"/>
                  </a:cubicBezTo>
                  <a:lnTo>
                    <a:pt x="48131" y="76706"/>
                  </a:lnTo>
                  <a:cubicBezTo>
                    <a:pt x="53846" y="82421"/>
                    <a:pt x="63371" y="82421"/>
                    <a:pt x="69086" y="77658"/>
                  </a:cubicBezTo>
                  <a:close/>
                </a:path>
              </a:pathLst>
            </a:custGeom>
            <a:solidFill>
              <a:srgbClr val="22282B"/>
            </a:solidFill>
            <a:ln w="9525" cap="flat">
              <a:noFill/>
              <a:prstDash val="solid"/>
              <a:miter/>
            </a:ln>
          </p:spPr>
          <p:txBody>
            <a:bodyPr rtlCol="0" anchor="ctr"/>
            <a:lstStyle/>
            <a:p>
              <a:endParaRPr lang="nb-NO" sz="900"/>
            </a:p>
          </p:txBody>
        </p:sp>
        <p:sp>
          <p:nvSpPr>
            <p:cNvPr id="27" name="Freeform: Shape 26">
              <a:extLst>
                <a:ext uri="{FF2B5EF4-FFF2-40B4-BE49-F238E27FC236}">
                  <a16:creationId xmlns:a16="http://schemas.microsoft.com/office/drawing/2014/main" id="{EC767A34-6E3D-4CEB-89EF-626A5545A9C2}"/>
                </a:ext>
              </a:extLst>
            </p:cNvPr>
            <p:cNvSpPr/>
            <p:nvPr/>
          </p:nvSpPr>
          <p:spPr>
            <a:xfrm>
              <a:off x="4033283" y="7271023"/>
              <a:ext cx="85725" cy="85725"/>
            </a:xfrm>
            <a:custGeom>
              <a:avLst/>
              <a:gdLst>
                <a:gd name="connsiteX0" fmla="*/ 69086 w 85725"/>
                <a:gd name="connsiteY0" fmla="*/ 77658 h 85725"/>
                <a:gd name="connsiteX1" fmla="*/ 73848 w 85725"/>
                <a:gd name="connsiteY1" fmla="*/ 72896 h 85725"/>
                <a:gd name="connsiteX2" fmla="*/ 74801 w 85725"/>
                <a:gd name="connsiteY2" fmla="*/ 51941 h 85725"/>
                <a:gd name="connsiteX3" fmla="*/ 37653 w 85725"/>
                <a:gd name="connsiteY3" fmla="*/ 11936 h 85725"/>
                <a:gd name="connsiteX4" fmla="*/ 16698 w 85725"/>
                <a:gd name="connsiteY4" fmla="*/ 10983 h 85725"/>
                <a:gd name="connsiteX5" fmla="*/ 11936 w 85725"/>
                <a:gd name="connsiteY5" fmla="*/ 15746 h 85725"/>
                <a:gd name="connsiteX6" fmla="*/ 10983 w 85725"/>
                <a:gd name="connsiteY6" fmla="*/ 36701 h 85725"/>
                <a:gd name="connsiteX7" fmla="*/ 48131 w 85725"/>
                <a:gd name="connsiteY7" fmla="*/ 76706 h 85725"/>
                <a:gd name="connsiteX8" fmla="*/ 69086 w 85725"/>
                <a:gd name="connsiteY8" fmla="*/ 7765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85725">
                  <a:moveTo>
                    <a:pt x="69086" y="77658"/>
                  </a:moveTo>
                  <a:lnTo>
                    <a:pt x="73848" y="72896"/>
                  </a:lnTo>
                  <a:cubicBezTo>
                    <a:pt x="79563" y="67181"/>
                    <a:pt x="80516" y="57656"/>
                    <a:pt x="74801" y="51941"/>
                  </a:cubicBezTo>
                  <a:lnTo>
                    <a:pt x="37653" y="11936"/>
                  </a:lnTo>
                  <a:cubicBezTo>
                    <a:pt x="31938" y="6221"/>
                    <a:pt x="22413" y="5268"/>
                    <a:pt x="16698" y="10983"/>
                  </a:cubicBezTo>
                  <a:lnTo>
                    <a:pt x="11936" y="15746"/>
                  </a:lnTo>
                  <a:cubicBezTo>
                    <a:pt x="6221" y="21461"/>
                    <a:pt x="5268" y="30986"/>
                    <a:pt x="10983" y="36701"/>
                  </a:cubicBezTo>
                  <a:lnTo>
                    <a:pt x="48131" y="76706"/>
                  </a:lnTo>
                  <a:cubicBezTo>
                    <a:pt x="53846" y="83373"/>
                    <a:pt x="63371" y="83373"/>
                    <a:pt x="69086" y="77658"/>
                  </a:cubicBezTo>
                  <a:close/>
                </a:path>
              </a:pathLst>
            </a:custGeom>
            <a:solidFill>
              <a:srgbClr val="22282B"/>
            </a:solidFill>
            <a:ln w="9525" cap="flat">
              <a:noFill/>
              <a:prstDash val="solid"/>
              <a:miter/>
            </a:ln>
          </p:spPr>
          <p:txBody>
            <a:bodyPr rtlCol="0" anchor="ctr"/>
            <a:lstStyle/>
            <a:p>
              <a:endParaRPr lang="nb-NO" sz="900"/>
            </a:p>
          </p:txBody>
        </p:sp>
        <p:sp>
          <p:nvSpPr>
            <p:cNvPr id="28" name="Freeform: Shape 27">
              <a:extLst>
                <a:ext uri="{FF2B5EF4-FFF2-40B4-BE49-F238E27FC236}">
                  <a16:creationId xmlns:a16="http://schemas.microsoft.com/office/drawing/2014/main" id="{130A883E-DB2C-4779-874E-D1F0BCDB378E}"/>
                </a:ext>
              </a:extLst>
            </p:cNvPr>
            <p:cNvSpPr/>
            <p:nvPr/>
          </p:nvSpPr>
          <p:spPr>
            <a:xfrm>
              <a:off x="3852308" y="7294835"/>
              <a:ext cx="85725" cy="85725"/>
            </a:xfrm>
            <a:custGeom>
              <a:avLst/>
              <a:gdLst>
                <a:gd name="connsiteX0" fmla="*/ 69086 w 85725"/>
                <a:gd name="connsiteY0" fmla="*/ 77658 h 85725"/>
                <a:gd name="connsiteX1" fmla="*/ 73848 w 85725"/>
                <a:gd name="connsiteY1" fmla="*/ 72896 h 85725"/>
                <a:gd name="connsiteX2" fmla="*/ 74801 w 85725"/>
                <a:gd name="connsiteY2" fmla="*/ 51941 h 85725"/>
                <a:gd name="connsiteX3" fmla="*/ 37653 w 85725"/>
                <a:gd name="connsiteY3" fmla="*/ 11936 h 85725"/>
                <a:gd name="connsiteX4" fmla="*/ 16698 w 85725"/>
                <a:gd name="connsiteY4" fmla="*/ 10983 h 85725"/>
                <a:gd name="connsiteX5" fmla="*/ 11936 w 85725"/>
                <a:gd name="connsiteY5" fmla="*/ 15746 h 85725"/>
                <a:gd name="connsiteX6" fmla="*/ 10983 w 85725"/>
                <a:gd name="connsiteY6" fmla="*/ 36701 h 85725"/>
                <a:gd name="connsiteX7" fmla="*/ 48131 w 85725"/>
                <a:gd name="connsiteY7" fmla="*/ 76706 h 85725"/>
                <a:gd name="connsiteX8" fmla="*/ 69086 w 85725"/>
                <a:gd name="connsiteY8" fmla="*/ 7765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85725">
                  <a:moveTo>
                    <a:pt x="69086" y="77658"/>
                  </a:moveTo>
                  <a:lnTo>
                    <a:pt x="73848" y="72896"/>
                  </a:lnTo>
                  <a:cubicBezTo>
                    <a:pt x="79563" y="67181"/>
                    <a:pt x="80516" y="57656"/>
                    <a:pt x="74801" y="51941"/>
                  </a:cubicBezTo>
                  <a:lnTo>
                    <a:pt x="37653" y="11936"/>
                  </a:lnTo>
                  <a:cubicBezTo>
                    <a:pt x="31938" y="6221"/>
                    <a:pt x="22413" y="5268"/>
                    <a:pt x="16698" y="10983"/>
                  </a:cubicBezTo>
                  <a:lnTo>
                    <a:pt x="11936" y="15746"/>
                  </a:lnTo>
                  <a:cubicBezTo>
                    <a:pt x="6221" y="21461"/>
                    <a:pt x="5268" y="30986"/>
                    <a:pt x="10983" y="36701"/>
                  </a:cubicBezTo>
                  <a:lnTo>
                    <a:pt x="48131" y="76706"/>
                  </a:lnTo>
                  <a:cubicBezTo>
                    <a:pt x="53846" y="83373"/>
                    <a:pt x="63371" y="83373"/>
                    <a:pt x="69086" y="77658"/>
                  </a:cubicBezTo>
                  <a:close/>
                </a:path>
              </a:pathLst>
            </a:custGeom>
            <a:solidFill>
              <a:srgbClr val="22282B"/>
            </a:solidFill>
            <a:ln w="9525" cap="flat">
              <a:noFill/>
              <a:prstDash val="solid"/>
              <a:miter/>
            </a:ln>
          </p:spPr>
          <p:txBody>
            <a:bodyPr rtlCol="0" anchor="ctr"/>
            <a:lstStyle/>
            <a:p>
              <a:endParaRPr lang="nb-NO" sz="900"/>
            </a:p>
          </p:txBody>
        </p:sp>
        <p:sp>
          <p:nvSpPr>
            <p:cNvPr id="29" name="Freeform: Shape 28">
              <a:extLst>
                <a:ext uri="{FF2B5EF4-FFF2-40B4-BE49-F238E27FC236}">
                  <a16:creationId xmlns:a16="http://schemas.microsoft.com/office/drawing/2014/main" id="{8D26B21F-C52D-477B-B260-353D336A6D00}"/>
                </a:ext>
              </a:extLst>
            </p:cNvPr>
            <p:cNvSpPr/>
            <p:nvPr/>
          </p:nvSpPr>
          <p:spPr>
            <a:xfrm>
              <a:off x="5051396" y="10457310"/>
              <a:ext cx="428625" cy="571500"/>
            </a:xfrm>
            <a:custGeom>
              <a:avLst/>
              <a:gdLst>
                <a:gd name="connsiteX0" fmla="*/ 421621 w 428625"/>
                <a:gd name="connsiteY0" fmla="*/ 69863 h 571500"/>
                <a:gd name="connsiteX1" fmla="*/ 314941 w 428625"/>
                <a:gd name="connsiteY1" fmla="*/ 17475 h 571500"/>
                <a:gd name="connsiteX2" fmla="*/ 192068 w 428625"/>
                <a:gd name="connsiteY2" fmla="*/ 124156 h 571500"/>
                <a:gd name="connsiteX3" fmla="*/ 7283 w 428625"/>
                <a:gd name="connsiteY3" fmla="*/ 500393 h 571500"/>
                <a:gd name="connsiteX4" fmla="*/ 123488 w 428625"/>
                <a:gd name="connsiteY4" fmla="*/ 545161 h 571500"/>
                <a:gd name="connsiteX5" fmla="*/ 395903 w 428625"/>
                <a:gd name="connsiteY5" fmla="*/ 168923 h 571500"/>
                <a:gd name="connsiteX6" fmla="*/ 421621 w 428625"/>
                <a:gd name="connsiteY6" fmla="*/ 69863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8625" h="571500">
                  <a:moveTo>
                    <a:pt x="421621" y="69863"/>
                  </a:moveTo>
                  <a:cubicBezTo>
                    <a:pt x="416858" y="18428"/>
                    <a:pt x="358756" y="-9194"/>
                    <a:pt x="314941" y="17475"/>
                  </a:cubicBezTo>
                  <a:cubicBezTo>
                    <a:pt x="288271" y="33668"/>
                    <a:pt x="227311" y="78436"/>
                    <a:pt x="192068" y="124156"/>
                  </a:cubicBezTo>
                  <a:cubicBezTo>
                    <a:pt x="91103" y="255600"/>
                    <a:pt x="11093" y="442291"/>
                    <a:pt x="7283" y="500393"/>
                  </a:cubicBezTo>
                  <a:cubicBezTo>
                    <a:pt x="3473" y="558495"/>
                    <a:pt x="78721" y="593738"/>
                    <a:pt x="123488" y="545161"/>
                  </a:cubicBezTo>
                  <a:cubicBezTo>
                    <a:pt x="168256" y="496583"/>
                    <a:pt x="395903" y="168923"/>
                    <a:pt x="395903" y="168923"/>
                  </a:cubicBezTo>
                  <a:cubicBezTo>
                    <a:pt x="395903" y="168923"/>
                    <a:pt x="427336" y="123203"/>
                    <a:pt x="421621" y="69863"/>
                  </a:cubicBezTo>
                  <a:close/>
                </a:path>
              </a:pathLst>
            </a:custGeom>
            <a:solidFill>
              <a:schemeClr val="accent2">
                <a:lumMod val="40000"/>
                <a:lumOff val="60000"/>
              </a:schemeClr>
            </a:solidFill>
            <a:ln w="9525" cap="flat">
              <a:noFill/>
              <a:prstDash val="solid"/>
              <a:miter/>
            </a:ln>
          </p:spPr>
          <p:txBody>
            <a:bodyPr rtlCol="0" anchor="ctr"/>
            <a:lstStyle/>
            <a:p>
              <a:endParaRPr lang="nb-NO" sz="900"/>
            </a:p>
          </p:txBody>
        </p:sp>
        <p:sp>
          <p:nvSpPr>
            <p:cNvPr id="30" name="Freeform: Shape 29">
              <a:extLst>
                <a:ext uri="{FF2B5EF4-FFF2-40B4-BE49-F238E27FC236}">
                  <a16:creationId xmlns:a16="http://schemas.microsoft.com/office/drawing/2014/main" id="{6E10BB56-0459-4214-A793-3FCC357AD561}"/>
                </a:ext>
              </a:extLst>
            </p:cNvPr>
            <p:cNvSpPr/>
            <p:nvPr/>
          </p:nvSpPr>
          <p:spPr>
            <a:xfrm>
              <a:off x="5110590" y="10482318"/>
              <a:ext cx="447676" cy="581025"/>
            </a:xfrm>
            <a:custGeom>
              <a:avLst/>
              <a:gdLst>
                <a:gd name="connsiteX0" fmla="*/ 7144 w 447675"/>
                <a:gd name="connsiteY0" fmla="*/ 560158 h 581025"/>
                <a:gd name="connsiteX1" fmla="*/ 8096 w 447675"/>
                <a:gd name="connsiteY1" fmla="*/ 561110 h 581025"/>
                <a:gd name="connsiteX2" fmla="*/ 98584 w 447675"/>
                <a:gd name="connsiteY2" fmla="*/ 550633 h 581025"/>
                <a:gd name="connsiteX3" fmla="*/ 445294 w 447675"/>
                <a:gd name="connsiteY3" fmla="*/ 60095 h 581025"/>
                <a:gd name="connsiteX4" fmla="*/ 381476 w 447675"/>
                <a:gd name="connsiteY4" fmla="*/ 13423 h 581025"/>
                <a:gd name="connsiteX5" fmla="*/ 332899 w 447675"/>
                <a:gd name="connsiteY5" fmla="*/ 22948 h 581025"/>
                <a:gd name="connsiteX6" fmla="*/ 7144 w 447675"/>
                <a:gd name="connsiteY6" fmla="*/ 560158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675" h="581025">
                  <a:moveTo>
                    <a:pt x="7144" y="560158"/>
                  </a:moveTo>
                  <a:lnTo>
                    <a:pt x="8096" y="561110"/>
                  </a:lnTo>
                  <a:cubicBezTo>
                    <a:pt x="35719" y="584923"/>
                    <a:pt x="77629" y="580160"/>
                    <a:pt x="98584" y="550633"/>
                  </a:cubicBezTo>
                  <a:lnTo>
                    <a:pt x="445294" y="60095"/>
                  </a:lnTo>
                  <a:lnTo>
                    <a:pt x="381476" y="13423"/>
                  </a:lnTo>
                  <a:cubicBezTo>
                    <a:pt x="365284" y="1993"/>
                    <a:pt x="342424" y="6755"/>
                    <a:pt x="332899" y="22948"/>
                  </a:cubicBezTo>
                  <a:lnTo>
                    <a:pt x="7144" y="560158"/>
                  </a:lnTo>
                  <a:close/>
                </a:path>
              </a:pathLst>
            </a:custGeom>
            <a:solidFill>
              <a:srgbClr val="22282B"/>
            </a:solidFill>
            <a:ln w="9525" cap="flat">
              <a:noFill/>
              <a:prstDash val="solid"/>
              <a:miter/>
            </a:ln>
          </p:spPr>
          <p:txBody>
            <a:bodyPr rtlCol="0" anchor="ctr"/>
            <a:lstStyle/>
            <a:p>
              <a:endParaRPr lang="nb-NO" sz="900">
                <a:solidFill>
                  <a:srgbClr val="22282B"/>
                </a:solidFill>
              </a:endParaRPr>
            </a:p>
          </p:txBody>
        </p:sp>
        <p:sp>
          <p:nvSpPr>
            <p:cNvPr id="31" name="Freeform: Shape 30">
              <a:extLst>
                <a:ext uri="{FF2B5EF4-FFF2-40B4-BE49-F238E27FC236}">
                  <a16:creationId xmlns:a16="http://schemas.microsoft.com/office/drawing/2014/main" id="{7B45AA12-C6FC-4F75-8228-8D8AB3C5A1C6}"/>
                </a:ext>
              </a:extLst>
            </p:cNvPr>
            <p:cNvSpPr/>
            <p:nvPr/>
          </p:nvSpPr>
          <p:spPr>
            <a:xfrm>
              <a:off x="5235855" y="10443364"/>
              <a:ext cx="180975" cy="142875"/>
            </a:xfrm>
            <a:custGeom>
              <a:avLst/>
              <a:gdLst>
                <a:gd name="connsiteX0" fmla="*/ 171439 w 180975"/>
                <a:gd name="connsiteY0" fmla="*/ 14277 h 142875"/>
                <a:gd name="connsiteX1" fmla="*/ 171439 w 180975"/>
                <a:gd name="connsiteY1" fmla="*/ 14277 h 142875"/>
                <a:gd name="connsiteX2" fmla="*/ 146674 w 180975"/>
                <a:gd name="connsiteY2" fmla="*/ 10466 h 142875"/>
                <a:gd name="connsiteX3" fmla="*/ 14277 w 180975"/>
                <a:gd name="connsiteY3" fmla="*/ 107622 h 142875"/>
                <a:gd name="connsiteX4" fmla="*/ 10467 w 180975"/>
                <a:gd name="connsiteY4" fmla="*/ 132387 h 142875"/>
                <a:gd name="connsiteX5" fmla="*/ 10467 w 180975"/>
                <a:gd name="connsiteY5" fmla="*/ 132387 h 142875"/>
                <a:gd name="connsiteX6" fmla="*/ 35232 w 180975"/>
                <a:gd name="connsiteY6" fmla="*/ 136197 h 142875"/>
                <a:gd name="connsiteX7" fmla="*/ 167629 w 180975"/>
                <a:gd name="connsiteY7" fmla="*/ 39041 h 142875"/>
                <a:gd name="connsiteX8" fmla="*/ 171439 w 180975"/>
                <a:gd name="connsiteY8" fmla="*/ 14277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975" h="142875">
                  <a:moveTo>
                    <a:pt x="171439" y="14277"/>
                  </a:moveTo>
                  <a:lnTo>
                    <a:pt x="171439" y="14277"/>
                  </a:lnTo>
                  <a:cubicBezTo>
                    <a:pt x="165724" y="6657"/>
                    <a:pt x="154294" y="4752"/>
                    <a:pt x="146674" y="10466"/>
                  </a:cubicBezTo>
                  <a:lnTo>
                    <a:pt x="14277" y="107622"/>
                  </a:lnTo>
                  <a:cubicBezTo>
                    <a:pt x="6657" y="113337"/>
                    <a:pt x="4752" y="124766"/>
                    <a:pt x="10467" y="132387"/>
                  </a:cubicBezTo>
                  <a:lnTo>
                    <a:pt x="10467" y="132387"/>
                  </a:lnTo>
                  <a:cubicBezTo>
                    <a:pt x="16182" y="140007"/>
                    <a:pt x="27612" y="141912"/>
                    <a:pt x="35232" y="136197"/>
                  </a:cubicBezTo>
                  <a:lnTo>
                    <a:pt x="167629" y="39041"/>
                  </a:lnTo>
                  <a:cubicBezTo>
                    <a:pt x="175249" y="33327"/>
                    <a:pt x="177154" y="22849"/>
                    <a:pt x="171439" y="14277"/>
                  </a:cubicBezTo>
                  <a:close/>
                </a:path>
              </a:pathLst>
            </a:custGeom>
            <a:solidFill>
              <a:srgbClr val="22282B"/>
            </a:solidFill>
            <a:ln w="9525" cap="flat">
              <a:noFill/>
              <a:prstDash val="solid"/>
              <a:miter/>
            </a:ln>
          </p:spPr>
          <p:txBody>
            <a:bodyPr rtlCol="0" anchor="ctr"/>
            <a:lstStyle/>
            <a:p>
              <a:endParaRPr lang="nb-NO" sz="900"/>
            </a:p>
          </p:txBody>
        </p:sp>
        <p:sp>
          <p:nvSpPr>
            <p:cNvPr id="32" name="Freeform: Shape 31">
              <a:extLst>
                <a:ext uri="{FF2B5EF4-FFF2-40B4-BE49-F238E27FC236}">
                  <a16:creationId xmlns:a16="http://schemas.microsoft.com/office/drawing/2014/main" id="{2B034A50-90ED-4D25-BF64-7A20FF60E883}"/>
                </a:ext>
              </a:extLst>
            </p:cNvPr>
            <p:cNvSpPr/>
            <p:nvPr/>
          </p:nvSpPr>
          <p:spPr>
            <a:xfrm>
              <a:off x="5102641" y="10717821"/>
              <a:ext cx="95250" cy="47625"/>
            </a:xfrm>
            <a:custGeom>
              <a:avLst/>
              <a:gdLst>
                <a:gd name="connsiteX0" fmla="*/ 91293 w 95250"/>
                <a:gd name="connsiteY0" fmla="*/ 26522 h 47625"/>
                <a:gd name="connsiteX1" fmla="*/ 90340 w 95250"/>
                <a:gd name="connsiteY1" fmla="*/ 19855 h 47625"/>
                <a:gd name="connsiteX2" fmla="*/ 74148 w 95250"/>
                <a:gd name="connsiteY2" fmla="*/ 7472 h 47625"/>
                <a:gd name="connsiteX3" fmla="*/ 19855 w 95250"/>
                <a:gd name="connsiteY3" fmla="*/ 14140 h 47625"/>
                <a:gd name="connsiteX4" fmla="*/ 7473 w 95250"/>
                <a:gd name="connsiteY4" fmla="*/ 30333 h 47625"/>
                <a:gd name="connsiteX5" fmla="*/ 8425 w 95250"/>
                <a:gd name="connsiteY5" fmla="*/ 37000 h 47625"/>
                <a:gd name="connsiteX6" fmla="*/ 24618 w 95250"/>
                <a:gd name="connsiteY6" fmla="*/ 49383 h 47625"/>
                <a:gd name="connsiteX7" fmla="*/ 78910 w 95250"/>
                <a:gd name="connsiteY7" fmla="*/ 42715 h 47625"/>
                <a:gd name="connsiteX8" fmla="*/ 91293 w 95250"/>
                <a:gd name="connsiteY8" fmla="*/ 2652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47625">
                  <a:moveTo>
                    <a:pt x="91293" y="26522"/>
                  </a:moveTo>
                  <a:lnTo>
                    <a:pt x="90340" y="19855"/>
                  </a:lnTo>
                  <a:cubicBezTo>
                    <a:pt x="89387" y="12235"/>
                    <a:pt x="81768" y="5568"/>
                    <a:pt x="74148" y="7472"/>
                  </a:cubicBezTo>
                  <a:lnTo>
                    <a:pt x="19855" y="14140"/>
                  </a:lnTo>
                  <a:cubicBezTo>
                    <a:pt x="12235" y="15093"/>
                    <a:pt x="5568" y="22713"/>
                    <a:pt x="7473" y="30333"/>
                  </a:cubicBezTo>
                  <a:lnTo>
                    <a:pt x="8425" y="37000"/>
                  </a:lnTo>
                  <a:cubicBezTo>
                    <a:pt x="9378" y="44620"/>
                    <a:pt x="16998" y="51288"/>
                    <a:pt x="24618" y="49383"/>
                  </a:cubicBezTo>
                  <a:lnTo>
                    <a:pt x="78910" y="42715"/>
                  </a:lnTo>
                  <a:cubicBezTo>
                    <a:pt x="86530" y="41763"/>
                    <a:pt x="92245" y="34143"/>
                    <a:pt x="91293" y="26522"/>
                  </a:cubicBezTo>
                  <a:close/>
                </a:path>
              </a:pathLst>
            </a:custGeom>
            <a:solidFill>
              <a:srgbClr val="22282B"/>
            </a:solidFill>
            <a:ln w="9525" cap="flat">
              <a:noFill/>
              <a:prstDash val="solid"/>
              <a:miter/>
            </a:ln>
          </p:spPr>
          <p:txBody>
            <a:bodyPr rtlCol="0" anchor="ctr"/>
            <a:lstStyle/>
            <a:p>
              <a:endParaRPr lang="nb-NO" sz="900"/>
            </a:p>
          </p:txBody>
        </p:sp>
        <p:sp>
          <p:nvSpPr>
            <p:cNvPr id="33" name="Freeform: Shape 32">
              <a:extLst>
                <a:ext uri="{FF2B5EF4-FFF2-40B4-BE49-F238E27FC236}">
                  <a16:creationId xmlns:a16="http://schemas.microsoft.com/office/drawing/2014/main" id="{DEFC9E45-6170-4E8C-8F47-7AF9CD934FF5}"/>
                </a:ext>
              </a:extLst>
            </p:cNvPr>
            <p:cNvSpPr/>
            <p:nvPr/>
          </p:nvSpPr>
          <p:spPr>
            <a:xfrm>
              <a:off x="5150266" y="10636858"/>
              <a:ext cx="95250" cy="47625"/>
            </a:xfrm>
            <a:custGeom>
              <a:avLst/>
              <a:gdLst>
                <a:gd name="connsiteX0" fmla="*/ 91293 w 95250"/>
                <a:gd name="connsiteY0" fmla="*/ 26522 h 47625"/>
                <a:gd name="connsiteX1" fmla="*/ 90340 w 95250"/>
                <a:gd name="connsiteY1" fmla="*/ 19855 h 47625"/>
                <a:gd name="connsiteX2" fmla="*/ 74148 w 95250"/>
                <a:gd name="connsiteY2" fmla="*/ 7472 h 47625"/>
                <a:gd name="connsiteX3" fmla="*/ 19855 w 95250"/>
                <a:gd name="connsiteY3" fmla="*/ 14140 h 47625"/>
                <a:gd name="connsiteX4" fmla="*/ 7473 w 95250"/>
                <a:gd name="connsiteY4" fmla="*/ 30333 h 47625"/>
                <a:gd name="connsiteX5" fmla="*/ 8425 w 95250"/>
                <a:gd name="connsiteY5" fmla="*/ 37000 h 47625"/>
                <a:gd name="connsiteX6" fmla="*/ 24618 w 95250"/>
                <a:gd name="connsiteY6" fmla="*/ 49383 h 47625"/>
                <a:gd name="connsiteX7" fmla="*/ 78910 w 95250"/>
                <a:gd name="connsiteY7" fmla="*/ 42715 h 47625"/>
                <a:gd name="connsiteX8" fmla="*/ 91293 w 95250"/>
                <a:gd name="connsiteY8" fmla="*/ 2652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47625">
                  <a:moveTo>
                    <a:pt x="91293" y="26522"/>
                  </a:moveTo>
                  <a:lnTo>
                    <a:pt x="90340" y="19855"/>
                  </a:lnTo>
                  <a:cubicBezTo>
                    <a:pt x="89387" y="12235"/>
                    <a:pt x="81768" y="5568"/>
                    <a:pt x="74148" y="7472"/>
                  </a:cubicBezTo>
                  <a:lnTo>
                    <a:pt x="19855" y="14140"/>
                  </a:lnTo>
                  <a:cubicBezTo>
                    <a:pt x="12235" y="15093"/>
                    <a:pt x="5568" y="22713"/>
                    <a:pt x="7473" y="30333"/>
                  </a:cubicBezTo>
                  <a:lnTo>
                    <a:pt x="8425" y="37000"/>
                  </a:lnTo>
                  <a:cubicBezTo>
                    <a:pt x="9378" y="44620"/>
                    <a:pt x="16998" y="51288"/>
                    <a:pt x="24618" y="49383"/>
                  </a:cubicBezTo>
                  <a:lnTo>
                    <a:pt x="78910" y="42715"/>
                  </a:lnTo>
                  <a:cubicBezTo>
                    <a:pt x="86530" y="41763"/>
                    <a:pt x="92245" y="34143"/>
                    <a:pt x="91293" y="26522"/>
                  </a:cubicBezTo>
                  <a:close/>
                </a:path>
              </a:pathLst>
            </a:custGeom>
            <a:solidFill>
              <a:srgbClr val="22282B"/>
            </a:solidFill>
            <a:ln w="9525" cap="flat">
              <a:noFill/>
              <a:prstDash val="solid"/>
              <a:miter/>
            </a:ln>
          </p:spPr>
          <p:txBody>
            <a:bodyPr rtlCol="0" anchor="ctr"/>
            <a:lstStyle/>
            <a:p>
              <a:endParaRPr lang="nb-NO" sz="900"/>
            </a:p>
          </p:txBody>
        </p:sp>
        <p:sp>
          <p:nvSpPr>
            <p:cNvPr id="34" name="Freeform: Shape 33">
              <a:extLst>
                <a:ext uri="{FF2B5EF4-FFF2-40B4-BE49-F238E27FC236}">
                  <a16:creationId xmlns:a16="http://schemas.microsoft.com/office/drawing/2014/main" id="{B30C6204-F175-42FE-A42A-621587D935F4}"/>
                </a:ext>
              </a:extLst>
            </p:cNvPr>
            <p:cNvSpPr/>
            <p:nvPr/>
          </p:nvSpPr>
          <p:spPr>
            <a:xfrm>
              <a:off x="5063589" y="10796879"/>
              <a:ext cx="95250" cy="47625"/>
            </a:xfrm>
            <a:custGeom>
              <a:avLst/>
              <a:gdLst>
                <a:gd name="connsiteX0" fmla="*/ 91293 w 95250"/>
                <a:gd name="connsiteY0" fmla="*/ 26523 h 47625"/>
                <a:gd name="connsiteX1" fmla="*/ 90340 w 95250"/>
                <a:gd name="connsiteY1" fmla="*/ 19855 h 47625"/>
                <a:gd name="connsiteX2" fmla="*/ 74148 w 95250"/>
                <a:gd name="connsiteY2" fmla="*/ 7473 h 47625"/>
                <a:gd name="connsiteX3" fmla="*/ 19855 w 95250"/>
                <a:gd name="connsiteY3" fmla="*/ 14140 h 47625"/>
                <a:gd name="connsiteX4" fmla="*/ 7473 w 95250"/>
                <a:gd name="connsiteY4" fmla="*/ 30332 h 47625"/>
                <a:gd name="connsiteX5" fmla="*/ 8425 w 95250"/>
                <a:gd name="connsiteY5" fmla="*/ 37000 h 47625"/>
                <a:gd name="connsiteX6" fmla="*/ 24618 w 95250"/>
                <a:gd name="connsiteY6" fmla="*/ 49382 h 47625"/>
                <a:gd name="connsiteX7" fmla="*/ 78910 w 95250"/>
                <a:gd name="connsiteY7" fmla="*/ 42715 h 47625"/>
                <a:gd name="connsiteX8" fmla="*/ 91293 w 95250"/>
                <a:gd name="connsiteY8" fmla="*/ 2652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250" h="47625">
                  <a:moveTo>
                    <a:pt x="91293" y="26523"/>
                  </a:moveTo>
                  <a:lnTo>
                    <a:pt x="90340" y="19855"/>
                  </a:lnTo>
                  <a:cubicBezTo>
                    <a:pt x="89388" y="12235"/>
                    <a:pt x="81768" y="5567"/>
                    <a:pt x="74148" y="7473"/>
                  </a:cubicBezTo>
                  <a:lnTo>
                    <a:pt x="19855" y="14140"/>
                  </a:lnTo>
                  <a:cubicBezTo>
                    <a:pt x="12235" y="15092"/>
                    <a:pt x="5568" y="22712"/>
                    <a:pt x="7473" y="30332"/>
                  </a:cubicBezTo>
                  <a:lnTo>
                    <a:pt x="8425" y="37000"/>
                  </a:lnTo>
                  <a:cubicBezTo>
                    <a:pt x="9378" y="44620"/>
                    <a:pt x="16998" y="51287"/>
                    <a:pt x="24618" y="49382"/>
                  </a:cubicBezTo>
                  <a:lnTo>
                    <a:pt x="78910" y="42715"/>
                  </a:lnTo>
                  <a:cubicBezTo>
                    <a:pt x="86530" y="42715"/>
                    <a:pt x="92245" y="35095"/>
                    <a:pt x="91293" y="26523"/>
                  </a:cubicBezTo>
                  <a:close/>
                </a:path>
              </a:pathLst>
            </a:custGeom>
            <a:solidFill>
              <a:srgbClr val="22282B"/>
            </a:solidFill>
            <a:ln w="9525" cap="flat">
              <a:noFill/>
              <a:prstDash val="solid"/>
              <a:miter/>
            </a:ln>
          </p:spPr>
          <p:txBody>
            <a:bodyPr rtlCol="0" anchor="ctr"/>
            <a:lstStyle/>
            <a:p>
              <a:endParaRPr lang="nb-NO" sz="900"/>
            </a:p>
          </p:txBody>
        </p:sp>
        <p:sp>
          <p:nvSpPr>
            <p:cNvPr id="35" name="Freeform: Shape 34">
              <a:extLst>
                <a:ext uri="{FF2B5EF4-FFF2-40B4-BE49-F238E27FC236}">
                  <a16:creationId xmlns:a16="http://schemas.microsoft.com/office/drawing/2014/main" id="{40ACDE32-B6D5-4D15-BA87-DCC86E1E4885}"/>
                </a:ext>
              </a:extLst>
            </p:cNvPr>
            <p:cNvSpPr/>
            <p:nvPr/>
          </p:nvSpPr>
          <p:spPr>
            <a:xfrm>
              <a:off x="5731620" y="5257519"/>
              <a:ext cx="285750" cy="733425"/>
            </a:xfrm>
            <a:custGeom>
              <a:avLst/>
              <a:gdLst>
                <a:gd name="connsiteX0" fmla="*/ 281464 w 285750"/>
                <a:gd name="connsiteY0" fmla="*/ 541444 h 733425"/>
                <a:gd name="connsiteX1" fmla="*/ 123349 w 285750"/>
                <a:gd name="connsiteY1" fmla="*/ 241407 h 733425"/>
                <a:gd name="connsiteX2" fmla="*/ 16669 w 285750"/>
                <a:gd name="connsiteY2" fmla="*/ 722419 h 733425"/>
                <a:gd name="connsiteX3" fmla="*/ 7144 w 285750"/>
                <a:gd name="connsiteY3" fmla="*/ 729087 h 733425"/>
                <a:gd name="connsiteX4" fmla="*/ 70009 w 285750"/>
                <a:gd name="connsiteY4" fmla="*/ 15664 h 733425"/>
                <a:gd name="connsiteX5" fmla="*/ 281464 w 285750"/>
                <a:gd name="connsiteY5" fmla="*/ 541444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0" h="733425">
                  <a:moveTo>
                    <a:pt x="281464" y="541444"/>
                  </a:moveTo>
                  <a:cubicBezTo>
                    <a:pt x="185261" y="363327"/>
                    <a:pt x="123349" y="241407"/>
                    <a:pt x="123349" y="241407"/>
                  </a:cubicBezTo>
                  <a:cubicBezTo>
                    <a:pt x="123349" y="241407"/>
                    <a:pt x="93821" y="479532"/>
                    <a:pt x="16669" y="722419"/>
                  </a:cubicBezTo>
                  <a:lnTo>
                    <a:pt x="7144" y="729087"/>
                  </a:lnTo>
                  <a:cubicBezTo>
                    <a:pt x="7144" y="729087"/>
                    <a:pt x="23336" y="-84348"/>
                    <a:pt x="70009" y="15664"/>
                  </a:cubicBezTo>
                  <a:cubicBezTo>
                    <a:pt x="115729" y="116629"/>
                    <a:pt x="281464" y="541444"/>
                    <a:pt x="281464" y="541444"/>
                  </a:cubicBezTo>
                  <a:close/>
                </a:path>
              </a:pathLst>
            </a:custGeom>
            <a:solidFill>
              <a:srgbClr val="2863CD"/>
            </a:solidFill>
            <a:ln w="9525" cap="flat">
              <a:noFill/>
              <a:prstDash val="solid"/>
              <a:miter/>
            </a:ln>
          </p:spPr>
          <p:txBody>
            <a:bodyPr rtlCol="0" anchor="ctr"/>
            <a:lstStyle/>
            <a:p>
              <a:endParaRPr lang="nb-NO" sz="900"/>
            </a:p>
          </p:txBody>
        </p:sp>
        <p:sp>
          <p:nvSpPr>
            <p:cNvPr id="36" name="Freeform: Shape 35">
              <a:extLst>
                <a:ext uri="{FF2B5EF4-FFF2-40B4-BE49-F238E27FC236}">
                  <a16:creationId xmlns:a16="http://schemas.microsoft.com/office/drawing/2014/main" id="{AFFCDEBF-870C-410F-8514-2348A36C1FF5}"/>
                </a:ext>
              </a:extLst>
            </p:cNvPr>
            <p:cNvSpPr/>
            <p:nvPr/>
          </p:nvSpPr>
          <p:spPr>
            <a:xfrm>
              <a:off x="5060108" y="7154847"/>
              <a:ext cx="3371850" cy="1285875"/>
            </a:xfrm>
            <a:custGeom>
              <a:avLst/>
              <a:gdLst>
                <a:gd name="connsiteX0" fmla="*/ 3368516 w 3371850"/>
                <a:gd name="connsiteY0" fmla="*/ 7144 h 1285875"/>
                <a:gd name="connsiteX1" fmla="*/ 3368516 w 3371850"/>
                <a:gd name="connsiteY1" fmla="*/ 7144 h 1285875"/>
                <a:gd name="connsiteX2" fmla="*/ 2924651 w 3371850"/>
                <a:gd name="connsiteY2" fmla="*/ 422434 h 1285875"/>
                <a:gd name="connsiteX3" fmla="*/ 145256 w 3371850"/>
                <a:gd name="connsiteY3" fmla="*/ 535781 h 1285875"/>
                <a:gd name="connsiteX4" fmla="*/ 452914 w 3371850"/>
                <a:gd name="connsiteY4" fmla="*/ 1278731 h 1285875"/>
                <a:gd name="connsiteX5" fmla="*/ 7144 w 3371850"/>
                <a:gd name="connsiteY5" fmla="*/ 375761 h 1285875"/>
                <a:gd name="connsiteX6" fmla="*/ 3368516 w 3371850"/>
                <a:gd name="connsiteY6" fmla="*/ 7144 h 128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1850" h="1285875">
                  <a:moveTo>
                    <a:pt x="3368516" y="7144"/>
                  </a:moveTo>
                  <a:lnTo>
                    <a:pt x="3368516" y="7144"/>
                  </a:lnTo>
                  <a:cubicBezTo>
                    <a:pt x="3330416" y="140494"/>
                    <a:pt x="3214211" y="290989"/>
                    <a:pt x="2924651" y="422434"/>
                  </a:cubicBezTo>
                  <a:cubicBezTo>
                    <a:pt x="2302669" y="705326"/>
                    <a:pt x="145256" y="535781"/>
                    <a:pt x="145256" y="535781"/>
                  </a:cubicBezTo>
                  <a:cubicBezTo>
                    <a:pt x="263366" y="784384"/>
                    <a:pt x="367189" y="1035844"/>
                    <a:pt x="452914" y="1278731"/>
                  </a:cubicBezTo>
                  <a:cubicBezTo>
                    <a:pt x="311944" y="1012984"/>
                    <a:pt x="7144" y="375761"/>
                    <a:pt x="7144" y="375761"/>
                  </a:cubicBezTo>
                  <a:cubicBezTo>
                    <a:pt x="1473994" y="585311"/>
                    <a:pt x="3368516" y="7144"/>
                    <a:pt x="3368516" y="7144"/>
                  </a:cubicBezTo>
                  <a:close/>
                </a:path>
              </a:pathLst>
            </a:custGeom>
            <a:solidFill>
              <a:srgbClr val="547DE1"/>
            </a:solidFill>
            <a:ln w="9525" cap="flat">
              <a:noFill/>
              <a:prstDash val="solid"/>
              <a:miter/>
            </a:ln>
          </p:spPr>
          <p:txBody>
            <a:bodyPr rtlCol="0" anchor="ctr"/>
            <a:lstStyle/>
            <a:p>
              <a:endParaRPr lang="nb-NO" sz="900"/>
            </a:p>
          </p:txBody>
        </p:sp>
      </p:grpSp>
      <p:sp>
        <p:nvSpPr>
          <p:cNvPr id="2" name="Rectangle 75">
            <a:extLst>
              <a:ext uri="{FF2B5EF4-FFF2-40B4-BE49-F238E27FC236}">
                <a16:creationId xmlns:a16="http://schemas.microsoft.com/office/drawing/2014/main" id="{A407FC61-A8EA-421F-B161-BD3DAB67F292}"/>
              </a:ext>
            </a:extLst>
          </p:cNvPr>
          <p:cNvSpPr/>
          <p:nvPr/>
        </p:nvSpPr>
        <p:spPr>
          <a:xfrm>
            <a:off x="-15591" y="2282318"/>
            <a:ext cx="5355783" cy="3141559"/>
          </a:xfrm>
          <a:prstGeom prst="rect">
            <a:avLst/>
          </a:prstGeom>
          <a:solidFill>
            <a:schemeClr val="bg1">
              <a:lumMod val="8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latin typeface="Microsoft JhengHei UI Light" panose="020B0304030504040204" pitchFamily="34" charset="-120"/>
              <a:ea typeface="Microsoft JhengHei UI Light" panose="020B0304030504040204" pitchFamily="34" charset="-120"/>
            </a:endParaRPr>
          </a:p>
        </p:txBody>
      </p:sp>
      <p:pic>
        <p:nvPicPr>
          <p:cNvPr id="97" name="Picture 3">
            <a:extLst>
              <a:ext uri="{FF2B5EF4-FFF2-40B4-BE49-F238E27FC236}">
                <a16:creationId xmlns:a16="http://schemas.microsoft.com/office/drawing/2014/main" id="{29F6CBF4-A02B-4D51-AE53-A218B37F215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0032438" y="6333634"/>
            <a:ext cx="2025319" cy="3164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3" name="TextBox 100">
            <a:extLst>
              <a:ext uri="{FF2B5EF4-FFF2-40B4-BE49-F238E27FC236}">
                <a16:creationId xmlns:a16="http://schemas.microsoft.com/office/drawing/2014/main" id="{B2662C22-3FF8-4490-91E6-F5E789F5B208}"/>
              </a:ext>
            </a:extLst>
          </p:cNvPr>
          <p:cNvSpPr txBox="1"/>
          <p:nvPr/>
        </p:nvSpPr>
        <p:spPr>
          <a:xfrm>
            <a:off x="583116" y="612101"/>
            <a:ext cx="6457428" cy="1077218"/>
          </a:xfrm>
          <a:prstGeom prst="rect">
            <a:avLst/>
          </a:prstGeom>
          <a:noFill/>
        </p:spPr>
        <p:txBody>
          <a:bodyPr wrap="square" rtlCol="0">
            <a:spAutoFit/>
          </a:bodyPr>
          <a:lstStyle/>
          <a:p>
            <a:pPr defTabSz="228554">
              <a:defRPr/>
            </a:pPr>
            <a:r>
              <a:rPr lang="nb-NO" sz="3200" dirty="0">
                <a:latin typeface="Microsoft JhengHei UI Light" panose="020B0304030504040204" pitchFamily="34" charset="-120"/>
                <a:ea typeface="Microsoft JhengHei UI Light" panose="020B0304030504040204" pitchFamily="34" charset="-120"/>
              </a:rPr>
              <a:t>Målet for felles pasientinformasjon er …</a:t>
            </a:r>
          </a:p>
        </p:txBody>
      </p:sp>
      <p:sp>
        <p:nvSpPr>
          <p:cNvPr id="94" name="Textfeld 32">
            <a:extLst>
              <a:ext uri="{FF2B5EF4-FFF2-40B4-BE49-F238E27FC236}">
                <a16:creationId xmlns:a16="http://schemas.microsoft.com/office/drawing/2014/main" id="{2479F756-CFE7-49E0-BDD0-674F0EB48A62}"/>
              </a:ext>
            </a:extLst>
          </p:cNvPr>
          <p:cNvSpPr txBox="1"/>
          <p:nvPr/>
        </p:nvSpPr>
        <p:spPr>
          <a:xfrm>
            <a:off x="501682" y="2690929"/>
            <a:ext cx="4629734" cy="2215991"/>
          </a:xfrm>
          <a:prstGeom prst="rect">
            <a:avLst/>
          </a:prstGeom>
          <a:noFill/>
        </p:spPr>
        <p:txBody>
          <a:bodyPr wrap="square" lIns="91440" tIns="45720" rIns="91440" bIns="45720" rtlCol="0" anchor="t">
            <a:spAutoFit/>
          </a:bodyPr>
          <a:lstStyle/>
          <a:p>
            <a:pPr defTabSz="228554">
              <a:lnSpc>
                <a:spcPct val="150000"/>
              </a:lnSpc>
              <a:defRPr/>
            </a:pPr>
            <a:r>
              <a:rPr lang="nb-NO" sz="2000" dirty="0">
                <a:solidFill>
                  <a:srgbClr val="0070C0"/>
                </a:solidFill>
                <a:latin typeface="Microsoft JhengHei UI Light" panose="020B0304030504040204" pitchFamily="34" charset="-120"/>
                <a:ea typeface="Microsoft JhengHei UI Light" panose="020B0304030504040204" pitchFamily="34" charset="-120"/>
              </a:rPr>
              <a:t>"God og kvalitetssikret informasjon der du er når du trenger det!"</a:t>
            </a:r>
          </a:p>
          <a:p>
            <a:pPr defTabSz="228554">
              <a:lnSpc>
                <a:spcPct val="150000"/>
              </a:lnSpc>
              <a:defRPr/>
            </a:pPr>
            <a:endParaRPr lang="nb-NO" sz="2000" dirty="0">
              <a:latin typeface="Microsoft JhengHei UI" panose="020B0604030504040204" pitchFamily="34" charset="-120"/>
              <a:ea typeface="Microsoft JhengHei UI" panose="020B0604030504040204" pitchFamily="34" charset="-120"/>
            </a:endParaRPr>
          </a:p>
          <a:p>
            <a:pPr defTabSz="228554">
              <a:lnSpc>
                <a:spcPct val="150000"/>
              </a:lnSpc>
              <a:defRPr/>
            </a:pPr>
            <a:r>
              <a:rPr lang="nb-NO" sz="1600" dirty="0">
                <a:latin typeface="Microsoft JhengHei UI Light" panose="020B0304030504040204" pitchFamily="34" charset="-120"/>
                <a:ea typeface="Microsoft JhengHei UI Light" panose="020B0304030504040204" pitchFamily="34" charset="-120"/>
              </a:rPr>
              <a:t>- Skal bidra til at pasienter og pårørende føler seg trygge og mestrer livet med sykdom</a:t>
            </a:r>
          </a:p>
        </p:txBody>
      </p:sp>
    </p:spTree>
    <p:extLst>
      <p:ext uri="{BB962C8B-B14F-4D97-AF65-F5344CB8AC3E}">
        <p14:creationId xmlns:p14="http://schemas.microsoft.com/office/powerpoint/2010/main" val="286312061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92"/>
                                        </p:tgtEl>
                                        <p:attrNameLst>
                                          <p:attrName>style.visibility</p:attrName>
                                        </p:attrNameLst>
                                      </p:cBhvr>
                                      <p:to>
                                        <p:strVal val="visible"/>
                                      </p:to>
                                    </p:set>
                                    <p:anim calcmode="lin" valueType="num">
                                      <p:cBhvr additive="base">
                                        <p:cTn id="7" dur="1500" fill="hold"/>
                                        <p:tgtEl>
                                          <p:spTgt spid="92"/>
                                        </p:tgtEl>
                                        <p:attrNameLst>
                                          <p:attrName>ppt_x</p:attrName>
                                        </p:attrNameLst>
                                      </p:cBhvr>
                                      <p:tavLst>
                                        <p:tav tm="0">
                                          <p:val>
                                            <p:strVal val="1+#ppt_w/2"/>
                                          </p:val>
                                        </p:tav>
                                        <p:tav tm="100000">
                                          <p:val>
                                            <p:strVal val="#ppt_x"/>
                                          </p:val>
                                        </p:tav>
                                      </p:tavLst>
                                    </p:anim>
                                    <p:anim calcmode="lin" valueType="num">
                                      <p:cBhvr additive="base">
                                        <p:cTn id="8" dur="1500" fill="hold"/>
                                        <p:tgtEl>
                                          <p:spTgt spid="92"/>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91"/>
                                        </p:tgtEl>
                                        <p:attrNameLst>
                                          <p:attrName>style.visibility</p:attrName>
                                        </p:attrNameLst>
                                      </p:cBhvr>
                                      <p:to>
                                        <p:strVal val="visible"/>
                                      </p:to>
                                    </p:set>
                                    <p:anim calcmode="lin" valueType="num">
                                      <p:cBhvr additive="base">
                                        <p:cTn id="11" dur="1500" fill="hold"/>
                                        <p:tgtEl>
                                          <p:spTgt spid="91"/>
                                        </p:tgtEl>
                                        <p:attrNameLst>
                                          <p:attrName>ppt_x</p:attrName>
                                        </p:attrNameLst>
                                      </p:cBhvr>
                                      <p:tavLst>
                                        <p:tav tm="0">
                                          <p:val>
                                            <p:strVal val="1+#ppt_w/2"/>
                                          </p:val>
                                        </p:tav>
                                        <p:tav tm="100000">
                                          <p:val>
                                            <p:strVal val="#ppt_x"/>
                                          </p:val>
                                        </p:tav>
                                      </p:tavLst>
                                    </p:anim>
                                    <p:anim calcmode="lin" valueType="num">
                                      <p:cBhvr additive="base">
                                        <p:cTn id="12" dur="1500" fill="hold"/>
                                        <p:tgtEl>
                                          <p:spTgt spid="9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90"/>
                                        </p:tgtEl>
                                        <p:attrNameLst>
                                          <p:attrName>style.visibility</p:attrName>
                                        </p:attrNameLst>
                                      </p:cBhvr>
                                      <p:to>
                                        <p:strVal val="visible"/>
                                      </p:to>
                                    </p:set>
                                    <p:anim calcmode="lin" valueType="num">
                                      <p:cBhvr additive="base">
                                        <p:cTn id="15" dur="1500" fill="hold"/>
                                        <p:tgtEl>
                                          <p:spTgt spid="90"/>
                                        </p:tgtEl>
                                        <p:attrNameLst>
                                          <p:attrName>ppt_x</p:attrName>
                                        </p:attrNameLst>
                                      </p:cBhvr>
                                      <p:tavLst>
                                        <p:tav tm="0">
                                          <p:val>
                                            <p:strVal val="1+#ppt_w/2"/>
                                          </p:val>
                                        </p:tav>
                                        <p:tav tm="100000">
                                          <p:val>
                                            <p:strVal val="#ppt_x"/>
                                          </p:val>
                                        </p:tav>
                                      </p:tavLst>
                                    </p:anim>
                                    <p:anim calcmode="lin" valueType="num">
                                      <p:cBhvr additive="base">
                                        <p:cTn id="16" dur="1500" fill="hold"/>
                                        <p:tgtEl>
                                          <p:spTgt spid="90"/>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89"/>
                                        </p:tgtEl>
                                        <p:attrNameLst>
                                          <p:attrName>style.visibility</p:attrName>
                                        </p:attrNameLst>
                                      </p:cBhvr>
                                      <p:to>
                                        <p:strVal val="visible"/>
                                      </p:to>
                                    </p:set>
                                    <p:anim calcmode="lin" valueType="num">
                                      <p:cBhvr additive="base">
                                        <p:cTn id="19" dur="1500" fill="hold"/>
                                        <p:tgtEl>
                                          <p:spTgt spid="89"/>
                                        </p:tgtEl>
                                        <p:attrNameLst>
                                          <p:attrName>ppt_x</p:attrName>
                                        </p:attrNameLst>
                                      </p:cBhvr>
                                      <p:tavLst>
                                        <p:tav tm="0">
                                          <p:val>
                                            <p:strVal val="1+#ppt_w/2"/>
                                          </p:val>
                                        </p:tav>
                                        <p:tav tm="100000">
                                          <p:val>
                                            <p:strVal val="#ppt_x"/>
                                          </p:val>
                                        </p:tav>
                                      </p:tavLst>
                                    </p:anim>
                                    <p:anim calcmode="lin" valueType="num">
                                      <p:cBhvr additive="base">
                                        <p:cTn id="20" dur="1500" fill="hold"/>
                                        <p:tgtEl>
                                          <p:spTgt spid="89"/>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100"/>
                                  </p:stCondLst>
                                  <p:childTnLst>
                                    <p:set>
                                      <p:cBhvr>
                                        <p:cTn id="22" dur="1" fill="hold">
                                          <p:stCondLst>
                                            <p:cond delay="0"/>
                                          </p:stCondLst>
                                        </p:cTn>
                                        <p:tgtEl>
                                          <p:spTgt spid="44"/>
                                        </p:tgtEl>
                                        <p:attrNameLst>
                                          <p:attrName>style.visibility</p:attrName>
                                        </p:attrNameLst>
                                      </p:cBhvr>
                                      <p:to>
                                        <p:strVal val="visible"/>
                                      </p:to>
                                    </p:set>
                                    <p:anim calcmode="lin" valueType="num">
                                      <p:cBhvr additive="base">
                                        <p:cTn id="23" dur="1500" fill="hold"/>
                                        <p:tgtEl>
                                          <p:spTgt spid="44"/>
                                        </p:tgtEl>
                                        <p:attrNameLst>
                                          <p:attrName>ppt_x</p:attrName>
                                        </p:attrNameLst>
                                      </p:cBhvr>
                                      <p:tavLst>
                                        <p:tav tm="0">
                                          <p:val>
                                            <p:strVal val="1+#ppt_w/2"/>
                                          </p:val>
                                        </p:tav>
                                        <p:tav tm="100000">
                                          <p:val>
                                            <p:strVal val="#ppt_x"/>
                                          </p:val>
                                        </p:tav>
                                      </p:tavLst>
                                    </p:anim>
                                    <p:anim calcmode="lin" valueType="num">
                                      <p:cBhvr additive="base">
                                        <p:cTn id="24" dur="1500" fill="hold"/>
                                        <p:tgtEl>
                                          <p:spTgt spid="44"/>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200"/>
                                  </p:stCondLst>
                                  <p:childTnLst>
                                    <p:set>
                                      <p:cBhvr>
                                        <p:cTn id="26" dur="1" fill="hold">
                                          <p:stCondLst>
                                            <p:cond delay="0"/>
                                          </p:stCondLst>
                                        </p:cTn>
                                        <p:tgtEl>
                                          <p:spTgt spid="37"/>
                                        </p:tgtEl>
                                        <p:attrNameLst>
                                          <p:attrName>style.visibility</p:attrName>
                                        </p:attrNameLst>
                                      </p:cBhvr>
                                      <p:to>
                                        <p:strVal val="visible"/>
                                      </p:to>
                                    </p:set>
                                    <p:anim calcmode="lin" valueType="num">
                                      <p:cBhvr additive="base">
                                        <p:cTn id="27" dur="1500" fill="hold"/>
                                        <p:tgtEl>
                                          <p:spTgt spid="37"/>
                                        </p:tgtEl>
                                        <p:attrNameLst>
                                          <p:attrName>ppt_x</p:attrName>
                                        </p:attrNameLst>
                                      </p:cBhvr>
                                      <p:tavLst>
                                        <p:tav tm="0">
                                          <p:val>
                                            <p:strVal val="1+#ppt_w/2"/>
                                          </p:val>
                                        </p:tav>
                                        <p:tav tm="100000">
                                          <p:val>
                                            <p:strVal val="#ppt_x"/>
                                          </p:val>
                                        </p:tav>
                                      </p:tavLst>
                                    </p:anim>
                                    <p:anim calcmode="lin" valueType="num">
                                      <p:cBhvr additive="base">
                                        <p:cTn id="28" dur="1500" fill="hold"/>
                                        <p:tgtEl>
                                          <p:spTgt spid="37"/>
                                        </p:tgtEl>
                                        <p:attrNameLst>
                                          <p:attrName>ppt_y</p:attrName>
                                        </p:attrNameLst>
                                      </p:cBhvr>
                                      <p:tavLst>
                                        <p:tav tm="0">
                                          <p:val>
                                            <p:strVal val="#ppt_y"/>
                                          </p:val>
                                        </p:tav>
                                        <p:tav tm="100000">
                                          <p:val>
                                            <p:strVal val="#ppt_y"/>
                                          </p:val>
                                        </p:tav>
                                      </p:tavLst>
                                    </p:anim>
                                  </p:childTnLst>
                                </p:cTn>
                              </p:par>
                            </p:childTnLst>
                          </p:cTn>
                        </p:par>
                        <p:par>
                          <p:cTn id="29" fill="hold">
                            <p:stCondLst>
                              <p:cond delay="1700"/>
                            </p:stCondLst>
                            <p:childTnLst>
                              <p:par>
                                <p:cTn id="30" presetID="2" presetClass="entr" presetSubtype="4" decel="100000" fill="hold" grpId="0" nodeType="afterEffect">
                                  <p:stCondLst>
                                    <p:cond delay="0"/>
                                  </p:stCondLst>
                                  <p:childTnLst>
                                    <p:set>
                                      <p:cBhvr>
                                        <p:cTn id="31" dur="1" fill="hold">
                                          <p:stCondLst>
                                            <p:cond delay="0"/>
                                          </p:stCondLst>
                                        </p:cTn>
                                        <p:tgtEl>
                                          <p:spTgt spid="93"/>
                                        </p:tgtEl>
                                        <p:attrNameLst>
                                          <p:attrName>style.visibility</p:attrName>
                                        </p:attrNameLst>
                                      </p:cBhvr>
                                      <p:to>
                                        <p:strVal val="visible"/>
                                      </p:to>
                                    </p:set>
                                    <p:anim calcmode="lin" valueType="num">
                                      <p:cBhvr additive="base">
                                        <p:cTn id="32" dur="1000" fill="hold"/>
                                        <p:tgtEl>
                                          <p:spTgt spid="93"/>
                                        </p:tgtEl>
                                        <p:attrNameLst>
                                          <p:attrName>ppt_x</p:attrName>
                                        </p:attrNameLst>
                                      </p:cBhvr>
                                      <p:tavLst>
                                        <p:tav tm="0">
                                          <p:val>
                                            <p:strVal val="#ppt_x"/>
                                          </p:val>
                                        </p:tav>
                                        <p:tav tm="100000">
                                          <p:val>
                                            <p:strVal val="#ppt_x"/>
                                          </p:val>
                                        </p:tav>
                                      </p:tavLst>
                                    </p:anim>
                                    <p:anim calcmode="lin" valueType="num">
                                      <p:cBhvr additive="base">
                                        <p:cTn id="33" dur="1000" fill="hold"/>
                                        <p:tgtEl>
                                          <p:spTgt spid="93"/>
                                        </p:tgtEl>
                                        <p:attrNameLst>
                                          <p:attrName>ppt_y</p:attrName>
                                        </p:attrNameLst>
                                      </p:cBhvr>
                                      <p:tavLst>
                                        <p:tav tm="0">
                                          <p:val>
                                            <p:strVal val="1+#ppt_h/2"/>
                                          </p:val>
                                        </p:tav>
                                        <p:tav tm="100000">
                                          <p:val>
                                            <p:strVal val="#ppt_y"/>
                                          </p:val>
                                        </p:tav>
                                      </p:tavLst>
                                    </p:anim>
                                  </p:childTnLst>
                                </p:cTn>
                              </p:par>
                              <p:par>
                                <p:cTn id="34" presetID="2" presetClass="entr" presetSubtype="4" decel="100000" fill="hold" grpId="0" nodeType="withEffect">
                                  <p:stCondLst>
                                    <p:cond delay="100"/>
                                  </p:stCondLst>
                                  <p:childTnLst>
                                    <p:set>
                                      <p:cBhvr>
                                        <p:cTn id="35" dur="1" fill="hold">
                                          <p:stCondLst>
                                            <p:cond delay="0"/>
                                          </p:stCondLst>
                                        </p:cTn>
                                        <p:tgtEl>
                                          <p:spTgt spid="94"/>
                                        </p:tgtEl>
                                        <p:attrNameLst>
                                          <p:attrName>style.visibility</p:attrName>
                                        </p:attrNameLst>
                                      </p:cBhvr>
                                      <p:to>
                                        <p:strVal val="visible"/>
                                      </p:to>
                                    </p:set>
                                    <p:anim calcmode="lin" valueType="num">
                                      <p:cBhvr additive="base">
                                        <p:cTn id="36" dur="1000" fill="hold"/>
                                        <p:tgtEl>
                                          <p:spTgt spid="94"/>
                                        </p:tgtEl>
                                        <p:attrNameLst>
                                          <p:attrName>ppt_x</p:attrName>
                                        </p:attrNameLst>
                                      </p:cBhvr>
                                      <p:tavLst>
                                        <p:tav tm="0">
                                          <p:val>
                                            <p:strVal val="#ppt_x"/>
                                          </p:val>
                                        </p:tav>
                                        <p:tav tm="100000">
                                          <p:val>
                                            <p:strVal val="#ppt_x"/>
                                          </p:val>
                                        </p:tav>
                                      </p:tavLst>
                                    </p:anim>
                                    <p:anim calcmode="lin" valueType="num">
                                      <p:cBhvr additive="base">
                                        <p:cTn id="37" dur="1000" fill="hold"/>
                                        <p:tgtEl>
                                          <p:spTgt spid="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p:bldP spid="9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2BFEF56-C71E-4E8D-AC1F-390CCE748918}"/>
              </a:ext>
            </a:extLst>
          </p:cNvPr>
          <p:cNvSpPr txBox="1">
            <a:spLocks/>
          </p:cNvSpPr>
          <p:nvPr/>
        </p:nvSpPr>
        <p:spPr>
          <a:xfrm>
            <a:off x="3614151" y="463478"/>
            <a:ext cx="5011406" cy="62257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b-NO" sz="4000">
                <a:latin typeface="Microsoft YaHei UI Light" panose="020B0502040204020203" pitchFamily="34" charset="-122"/>
                <a:ea typeface="Microsoft YaHei UI Light" panose="020B0502040204020203" pitchFamily="34" charset="-122"/>
              </a:rPr>
              <a:t>FNSP er….</a:t>
            </a:r>
          </a:p>
        </p:txBody>
      </p:sp>
      <p:sp>
        <p:nvSpPr>
          <p:cNvPr id="5" name="TextBox 4">
            <a:extLst>
              <a:ext uri="{FF2B5EF4-FFF2-40B4-BE49-F238E27FC236}">
                <a16:creationId xmlns:a16="http://schemas.microsoft.com/office/drawing/2014/main" id="{F0A348CB-8FBA-4BEF-B67D-7A4E10C29C1E}"/>
              </a:ext>
            </a:extLst>
          </p:cNvPr>
          <p:cNvSpPr txBox="1"/>
          <p:nvPr/>
        </p:nvSpPr>
        <p:spPr>
          <a:xfrm>
            <a:off x="2093696" y="1373002"/>
            <a:ext cx="8407155" cy="800171"/>
          </a:xfrm>
          <a:prstGeom prst="rect">
            <a:avLst/>
          </a:prstGeom>
          <a:solidFill>
            <a:srgbClr val="E3F3EF"/>
          </a:solidFill>
        </p:spPr>
        <p:txBody>
          <a:bodyPr wrap="square" lIns="457140" tIns="182856" rIns="228570" bIns="182856" rtlCol="0" anchor="ctr">
            <a:spAutoFit/>
          </a:bodyPr>
          <a:lstStyle>
            <a:defPPr>
              <a:defRPr lang="en-US"/>
            </a:defPPr>
            <a:lvl1pPr algn="just">
              <a:defRPr sz="1600">
                <a:latin typeface="Microsoft YaHei UI Light" panose="020B0502040204020203" pitchFamily="34" charset="-122"/>
                <a:ea typeface="Microsoft YaHei UI Light" panose="020B0502040204020203" pitchFamily="34" charset="-122"/>
              </a:defRPr>
            </a:lvl1pPr>
          </a:lstStyle>
          <a:p>
            <a:pPr algn="l"/>
            <a:r>
              <a:rPr lang="nb-NO" sz="1400" dirty="0"/>
              <a:t>...tjenesten </a:t>
            </a:r>
            <a:r>
              <a:rPr lang="nb-NO" sz="1400" b="1" dirty="0"/>
              <a:t>felles publiseringsverktøy </a:t>
            </a:r>
            <a:r>
              <a:rPr lang="nb-NO" sz="1400" dirty="0"/>
              <a:t>for nettsteder for helseforetak, private-ideelle sykehus og selskaper som utgjør den offentlige spesialisthelsetjenesten</a:t>
            </a:r>
          </a:p>
        </p:txBody>
      </p:sp>
      <p:sp>
        <p:nvSpPr>
          <p:cNvPr id="2" name="Oval 1">
            <a:extLst>
              <a:ext uri="{FF2B5EF4-FFF2-40B4-BE49-F238E27FC236}">
                <a16:creationId xmlns:a16="http://schemas.microsoft.com/office/drawing/2014/main" id="{3EED8573-5BCE-4F43-9AB5-644A6A6AB6E9}"/>
              </a:ext>
            </a:extLst>
          </p:cNvPr>
          <p:cNvSpPr/>
          <p:nvPr/>
        </p:nvSpPr>
        <p:spPr>
          <a:xfrm>
            <a:off x="1287444" y="1167783"/>
            <a:ext cx="1114870" cy="1134881"/>
          </a:xfrm>
          <a:prstGeom prst="ellipse">
            <a:avLst/>
          </a:prstGeom>
          <a:solidFill>
            <a:srgbClr val="C6E6D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nb-NO" sz="4399">
              <a:latin typeface="Microsoft YaHei UI Light" panose="020B0502040204020203" pitchFamily="34" charset="-122"/>
              <a:ea typeface="Microsoft YaHei UI Light" panose="020B0502040204020203" pitchFamily="34" charset="-122"/>
              <a:cs typeface="Arial" panose="020B0604020202020204" pitchFamily="34" charset="0"/>
            </a:endParaRPr>
          </a:p>
        </p:txBody>
      </p:sp>
      <p:sp>
        <p:nvSpPr>
          <p:cNvPr id="6" name="TextBox 5">
            <a:extLst>
              <a:ext uri="{FF2B5EF4-FFF2-40B4-BE49-F238E27FC236}">
                <a16:creationId xmlns:a16="http://schemas.microsoft.com/office/drawing/2014/main" id="{DD791C16-4329-4411-A731-6A96B9DAD538}"/>
              </a:ext>
            </a:extLst>
          </p:cNvPr>
          <p:cNvSpPr txBox="1"/>
          <p:nvPr/>
        </p:nvSpPr>
        <p:spPr>
          <a:xfrm>
            <a:off x="2093696" y="2597456"/>
            <a:ext cx="8407155" cy="800171"/>
          </a:xfrm>
          <a:prstGeom prst="rect">
            <a:avLst/>
          </a:prstGeom>
          <a:solidFill>
            <a:srgbClr val="E3F3EF"/>
          </a:solidFill>
        </p:spPr>
        <p:txBody>
          <a:bodyPr wrap="square" lIns="457140" tIns="182856" rIns="228570" bIns="182856" rtlCol="0" anchor="ctr">
            <a:spAutoFit/>
          </a:bodyPr>
          <a:lstStyle>
            <a:defPPr>
              <a:defRPr lang="en-US"/>
            </a:defPPr>
            <a:lvl1pPr algn="just">
              <a:defRPr sz="1600">
                <a:latin typeface="Microsoft YaHei UI Light" panose="020B0502040204020203" pitchFamily="34" charset="-122"/>
                <a:ea typeface="Microsoft YaHei UI Light" panose="020B0502040204020203" pitchFamily="34" charset="-122"/>
              </a:defRPr>
            </a:lvl1pPr>
          </a:lstStyle>
          <a:p>
            <a:pPr algn="l"/>
            <a:r>
              <a:rPr lang="nb-NO" sz="1400" dirty="0"/>
              <a:t>...tjenesten </a:t>
            </a:r>
            <a:r>
              <a:rPr lang="nb-NO" sz="1400" b="1" dirty="0"/>
              <a:t>felles base </a:t>
            </a:r>
            <a:r>
              <a:rPr lang="nb-NO" sz="1400" dirty="0"/>
              <a:t>med generell pasientinformasjon som er bygget opp av spesialisthelsetjenesten ved samarbeid på tvers av regioner, helseforetak og fagfelt</a:t>
            </a:r>
          </a:p>
        </p:txBody>
      </p:sp>
      <p:sp>
        <p:nvSpPr>
          <p:cNvPr id="7" name="Oval 6">
            <a:extLst>
              <a:ext uri="{FF2B5EF4-FFF2-40B4-BE49-F238E27FC236}">
                <a16:creationId xmlns:a16="http://schemas.microsoft.com/office/drawing/2014/main" id="{1FE8BD92-16FC-4106-82F3-981E29C1A490}"/>
              </a:ext>
            </a:extLst>
          </p:cNvPr>
          <p:cNvSpPr/>
          <p:nvPr/>
        </p:nvSpPr>
        <p:spPr>
          <a:xfrm>
            <a:off x="1287444" y="2408139"/>
            <a:ext cx="1114870" cy="1134881"/>
          </a:xfrm>
          <a:prstGeom prst="ellipse">
            <a:avLst/>
          </a:prstGeom>
          <a:solidFill>
            <a:srgbClr val="C6E6D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nb-NO" sz="4399">
              <a:latin typeface="Microsoft YaHei UI Light" panose="020B0502040204020203" pitchFamily="34" charset="-122"/>
              <a:ea typeface="Microsoft YaHei UI Light" panose="020B0502040204020203" pitchFamily="34" charset="-122"/>
              <a:cs typeface="Arial" panose="020B0604020202020204" pitchFamily="34" charset="0"/>
            </a:endParaRPr>
          </a:p>
        </p:txBody>
      </p:sp>
      <p:sp>
        <p:nvSpPr>
          <p:cNvPr id="8" name="TextBox 7">
            <a:extLst>
              <a:ext uri="{FF2B5EF4-FFF2-40B4-BE49-F238E27FC236}">
                <a16:creationId xmlns:a16="http://schemas.microsoft.com/office/drawing/2014/main" id="{763CC19A-2AAB-4343-99D4-29C0D8377A81}"/>
              </a:ext>
            </a:extLst>
          </p:cNvPr>
          <p:cNvSpPr txBox="1"/>
          <p:nvPr/>
        </p:nvSpPr>
        <p:spPr>
          <a:xfrm>
            <a:off x="2093696" y="3722140"/>
            <a:ext cx="8407155" cy="1015614"/>
          </a:xfrm>
          <a:prstGeom prst="rect">
            <a:avLst/>
          </a:prstGeom>
          <a:solidFill>
            <a:srgbClr val="E3F3EF"/>
          </a:solidFill>
        </p:spPr>
        <p:txBody>
          <a:bodyPr wrap="square" lIns="457140" tIns="182856" rIns="228570" bIns="182856" rtlCol="0" anchor="ctr">
            <a:spAutoFit/>
          </a:bodyPr>
          <a:lstStyle>
            <a:defPPr>
              <a:defRPr lang="en-US"/>
            </a:defPPr>
            <a:lvl1pPr algn="just">
              <a:defRPr sz="1600">
                <a:latin typeface="Microsoft YaHei UI Light" panose="020B0502040204020203" pitchFamily="34" charset="-122"/>
                <a:ea typeface="Microsoft YaHei UI Light" panose="020B0502040204020203" pitchFamily="34" charset="-122"/>
              </a:defRPr>
            </a:lvl1pPr>
          </a:lstStyle>
          <a:p>
            <a:pPr algn="l"/>
            <a:r>
              <a:rPr lang="nb-NO" sz="1400" dirty="0"/>
              <a:t>…en </a:t>
            </a:r>
            <a:r>
              <a:rPr lang="nb-NO" sz="1400" b="1" dirty="0"/>
              <a:t>forvaltningsmodell</a:t>
            </a:r>
            <a:r>
              <a:rPr lang="nb-NO" sz="1400" dirty="0"/>
              <a:t> for felles nasjonal pasientinformasjon som sikrer faglig godkjent, oppdatert informasjon om behandlingstilbudet i spesialisthelsetjenesten og ved det enkelte helseforetak og behandlingssted</a:t>
            </a:r>
          </a:p>
        </p:txBody>
      </p:sp>
      <p:sp>
        <p:nvSpPr>
          <p:cNvPr id="9" name="Oval 8">
            <a:extLst>
              <a:ext uri="{FF2B5EF4-FFF2-40B4-BE49-F238E27FC236}">
                <a16:creationId xmlns:a16="http://schemas.microsoft.com/office/drawing/2014/main" id="{9EF44E19-1A77-4B5A-AF2A-CC27A73F8A1D}"/>
              </a:ext>
            </a:extLst>
          </p:cNvPr>
          <p:cNvSpPr/>
          <p:nvPr/>
        </p:nvSpPr>
        <p:spPr>
          <a:xfrm>
            <a:off x="1287444" y="3648495"/>
            <a:ext cx="1114870" cy="1134881"/>
          </a:xfrm>
          <a:prstGeom prst="ellipse">
            <a:avLst/>
          </a:prstGeom>
          <a:solidFill>
            <a:srgbClr val="C6E6D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nb-NO" sz="4399">
              <a:latin typeface="Microsoft YaHei UI Light" panose="020B0502040204020203" pitchFamily="34" charset="-122"/>
              <a:ea typeface="Microsoft YaHei UI Light" panose="020B0502040204020203" pitchFamily="34" charset="-122"/>
              <a:cs typeface="Arial" panose="020B0604020202020204" pitchFamily="34" charset="0"/>
            </a:endParaRPr>
          </a:p>
        </p:txBody>
      </p:sp>
      <p:pic>
        <p:nvPicPr>
          <p:cNvPr id="10" name="Grafikk 4" descr="Internett med heldekkende fyll">
            <a:extLst>
              <a:ext uri="{FF2B5EF4-FFF2-40B4-BE49-F238E27FC236}">
                <a16:creationId xmlns:a16="http://schemas.microsoft.com/office/drawing/2014/main" id="{67EFF2F4-6196-4C78-9CB4-6A598DA4E778}"/>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08682" y="1285260"/>
            <a:ext cx="914400" cy="914400"/>
          </a:xfrm>
          <a:prstGeom prst="rect">
            <a:avLst/>
          </a:prstGeom>
        </p:spPr>
      </p:pic>
      <p:sp>
        <p:nvSpPr>
          <p:cNvPr id="11" name="TextBox 7">
            <a:extLst>
              <a:ext uri="{FF2B5EF4-FFF2-40B4-BE49-F238E27FC236}">
                <a16:creationId xmlns:a16="http://schemas.microsoft.com/office/drawing/2014/main" id="{763CC19A-2AAB-4343-99D4-29C0D8377A81}"/>
              </a:ext>
            </a:extLst>
          </p:cNvPr>
          <p:cNvSpPr txBox="1"/>
          <p:nvPr/>
        </p:nvSpPr>
        <p:spPr>
          <a:xfrm>
            <a:off x="2093696" y="5078168"/>
            <a:ext cx="8407155" cy="800171"/>
          </a:xfrm>
          <a:prstGeom prst="rect">
            <a:avLst/>
          </a:prstGeom>
          <a:solidFill>
            <a:srgbClr val="E3F3EF"/>
          </a:solidFill>
        </p:spPr>
        <p:txBody>
          <a:bodyPr wrap="square" lIns="457140" tIns="182856" rIns="228570" bIns="182856" rtlCol="0" anchor="ctr">
            <a:spAutoFit/>
          </a:bodyPr>
          <a:lstStyle>
            <a:defPPr>
              <a:defRPr lang="en-US"/>
            </a:defPPr>
            <a:lvl1pPr algn="just">
              <a:defRPr sz="1600">
                <a:latin typeface="Microsoft YaHei UI Light" panose="020B0502040204020203" pitchFamily="34" charset="-122"/>
                <a:ea typeface="Microsoft YaHei UI Light" panose="020B0502040204020203" pitchFamily="34" charset="-122"/>
              </a:defRPr>
            </a:lvl1pPr>
          </a:lstStyle>
          <a:p>
            <a:pPr algn="l"/>
            <a:r>
              <a:rPr lang="nb-NO" sz="1400" dirty="0"/>
              <a:t>...en </a:t>
            </a:r>
            <a:r>
              <a:rPr lang="nb-NO" sz="1400" b="1" dirty="0"/>
              <a:t>interregional organisasjon </a:t>
            </a:r>
            <a:r>
              <a:rPr lang="nb-NO" sz="1400" dirty="0"/>
              <a:t>for styring og samarbeid om felles publiseringsverktøy og pasientinformasjon fra spesialisthelsetjenesten</a:t>
            </a:r>
          </a:p>
        </p:txBody>
      </p:sp>
      <p:sp>
        <p:nvSpPr>
          <p:cNvPr id="12" name="Oval 8">
            <a:extLst>
              <a:ext uri="{FF2B5EF4-FFF2-40B4-BE49-F238E27FC236}">
                <a16:creationId xmlns:a16="http://schemas.microsoft.com/office/drawing/2014/main" id="{9EF44E19-1A77-4B5A-AF2A-CC27A73F8A1D}"/>
              </a:ext>
            </a:extLst>
          </p:cNvPr>
          <p:cNvSpPr/>
          <p:nvPr/>
        </p:nvSpPr>
        <p:spPr>
          <a:xfrm>
            <a:off x="1287444" y="4888851"/>
            <a:ext cx="1114870" cy="1134881"/>
          </a:xfrm>
          <a:prstGeom prst="ellipse">
            <a:avLst/>
          </a:prstGeom>
          <a:solidFill>
            <a:srgbClr val="C6E6D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nb-NO" sz="4399">
              <a:latin typeface="Microsoft YaHei UI Light" panose="020B0502040204020203" pitchFamily="34" charset="-122"/>
              <a:ea typeface="Microsoft YaHei UI Light" panose="020B0502040204020203" pitchFamily="34" charset="-122"/>
              <a:cs typeface="Arial" panose="020B0604020202020204" pitchFamily="34" charset="0"/>
            </a:endParaRPr>
          </a:p>
        </p:txBody>
      </p:sp>
      <p:pic>
        <p:nvPicPr>
          <p:cNvPr id="13" name="Grafikk 6" descr="Database med heldekkende fyll">
            <a:extLst>
              <a:ext uri="{FF2B5EF4-FFF2-40B4-BE49-F238E27FC236}">
                <a16:creationId xmlns:a16="http://schemas.microsoft.com/office/drawing/2014/main" id="{41B8F947-D819-42AB-8C73-D090CF3CC055}"/>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87679" y="2518379"/>
            <a:ext cx="914400" cy="914400"/>
          </a:xfrm>
          <a:prstGeom prst="rect">
            <a:avLst/>
          </a:prstGeom>
        </p:spPr>
      </p:pic>
      <p:pic>
        <p:nvPicPr>
          <p:cNvPr id="14" name="Grafikk 9" descr="Sjekkliste med heldekkende fyll">
            <a:extLst>
              <a:ext uri="{FF2B5EF4-FFF2-40B4-BE49-F238E27FC236}">
                <a16:creationId xmlns:a16="http://schemas.microsoft.com/office/drawing/2014/main" id="{2C3B813D-B6F2-4922-9AFC-A8A2472AA33E}"/>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97177" y="3771696"/>
            <a:ext cx="914400" cy="914400"/>
          </a:xfrm>
          <a:prstGeom prst="rect">
            <a:avLst/>
          </a:prstGeom>
        </p:spPr>
      </p:pic>
      <p:pic>
        <p:nvPicPr>
          <p:cNvPr id="15" name="Grafikk 7" descr="Sosialt nettverk med heldekkende fyll">
            <a:extLst>
              <a:ext uri="{FF2B5EF4-FFF2-40B4-BE49-F238E27FC236}">
                <a16:creationId xmlns:a16="http://schemas.microsoft.com/office/drawing/2014/main" id="{202FCE37-1A28-44B4-AF2F-3E68858D10B1}"/>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97177" y="4999091"/>
            <a:ext cx="914400" cy="914400"/>
          </a:xfrm>
          <a:prstGeom prst="rect">
            <a:avLst/>
          </a:prstGeom>
        </p:spPr>
      </p:pic>
    </p:spTree>
    <p:extLst>
      <p:ext uri="{BB962C8B-B14F-4D97-AF65-F5344CB8AC3E}">
        <p14:creationId xmlns:p14="http://schemas.microsoft.com/office/powerpoint/2010/main" val="133597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300" fill="hold"/>
                                        <p:tgtEl>
                                          <p:spTgt spid="2"/>
                                        </p:tgtEl>
                                        <p:attrNameLst>
                                          <p:attrName>ppt_w</p:attrName>
                                        </p:attrNameLst>
                                      </p:cBhvr>
                                      <p:tavLst>
                                        <p:tav tm="0">
                                          <p:val>
                                            <p:fltVal val="0"/>
                                          </p:val>
                                        </p:tav>
                                        <p:tav tm="100000">
                                          <p:val>
                                            <p:strVal val="#ppt_w"/>
                                          </p:val>
                                        </p:tav>
                                      </p:tavLst>
                                    </p:anim>
                                    <p:anim calcmode="lin" valueType="num">
                                      <p:cBhvr>
                                        <p:cTn id="8" dur="300" fill="hold"/>
                                        <p:tgtEl>
                                          <p:spTgt spid="2"/>
                                        </p:tgtEl>
                                        <p:attrNameLst>
                                          <p:attrName>ppt_h</p:attrName>
                                        </p:attrNameLst>
                                      </p:cBhvr>
                                      <p:tavLst>
                                        <p:tav tm="0">
                                          <p:val>
                                            <p:fltVal val="0"/>
                                          </p:val>
                                        </p:tav>
                                        <p:tav tm="100000">
                                          <p:val>
                                            <p:strVal val="#ppt_h"/>
                                          </p:val>
                                        </p:tav>
                                      </p:tavLst>
                                    </p:anim>
                                    <p:anim calcmode="lin" valueType="num">
                                      <p:cBhvr>
                                        <p:cTn id="9" dur="300" fill="hold"/>
                                        <p:tgtEl>
                                          <p:spTgt spid="2"/>
                                        </p:tgtEl>
                                        <p:attrNameLst>
                                          <p:attrName>style.rotation</p:attrName>
                                        </p:attrNameLst>
                                      </p:cBhvr>
                                      <p:tavLst>
                                        <p:tav tm="0">
                                          <p:val>
                                            <p:fltVal val="360"/>
                                          </p:val>
                                        </p:tav>
                                        <p:tav tm="100000">
                                          <p:val>
                                            <p:fltVal val="0"/>
                                          </p:val>
                                        </p:tav>
                                      </p:tavLst>
                                    </p:anim>
                                    <p:animEffect transition="in" filter="fade">
                                      <p:cBhvr>
                                        <p:cTn id="10" dur="300"/>
                                        <p:tgtEl>
                                          <p:spTgt spid="2"/>
                                        </p:tgtEl>
                                      </p:cBhvr>
                                    </p:animEffect>
                                  </p:childTnLst>
                                </p:cTn>
                              </p:par>
                              <p:par>
                                <p:cTn id="11" presetID="49" presetClass="entr" presetSubtype="0" decel="100000" fill="hold" grpId="0" nodeType="withEffect">
                                  <p:stCondLst>
                                    <p:cond delay="200"/>
                                  </p:stCondLst>
                                  <p:childTnLst>
                                    <p:set>
                                      <p:cBhvr>
                                        <p:cTn id="12" dur="1" fill="hold">
                                          <p:stCondLst>
                                            <p:cond delay="0"/>
                                          </p:stCondLst>
                                        </p:cTn>
                                        <p:tgtEl>
                                          <p:spTgt spid="7"/>
                                        </p:tgtEl>
                                        <p:attrNameLst>
                                          <p:attrName>style.visibility</p:attrName>
                                        </p:attrNameLst>
                                      </p:cBhvr>
                                      <p:to>
                                        <p:strVal val="visible"/>
                                      </p:to>
                                    </p:set>
                                    <p:anim calcmode="lin" valueType="num">
                                      <p:cBhvr>
                                        <p:cTn id="13" dur="300" fill="hold"/>
                                        <p:tgtEl>
                                          <p:spTgt spid="7"/>
                                        </p:tgtEl>
                                        <p:attrNameLst>
                                          <p:attrName>ppt_w</p:attrName>
                                        </p:attrNameLst>
                                      </p:cBhvr>
                                      <p:tavLst>
                                        <p:tav tm="0">
                                          <p:val>
                                            <p:fltVal val="0"/>
                                          </p:val>
                                        </p:tav>
                                        <p:tav tm="100000">
                                          <p:val>
                                            <p:strVal val="#ppt_w"/>
                                          </p:val>
                                        </p:tav>
                                      </p:tavLst>
                                    </p:anim>
                                    <p:anim calcmode="lin" valueType="num">
                                      <p:cBhvr>
                                        <p:cTn id="14" dur="300" fill="hold"/>
                                        <p:tgtEl>
                                          <p:spTgt spid="7"/>
                                        </p:tgtEl>
                                        <p:attrNameLst>
                                          <p:attrName>ppt_h</p:attrName>
                                        </p:attrNameLst>
                                      </p:cBhvr>
                                      <p:tavLst>
                                        <p:tav tm="0">
                                          <p:val>
                                            <p:fltVal val="0"/>
                                          </p:val>
                                        </p:tav>
                                        <p:tav tm="100000">
                                          <p:val>
                                            <p:strVal val="#ppt_h"/>
                                          </p:val>
                                        </p:tav>
                                      </p:tavLst>
                                    </p:anim>
                                    <p:anim calcmode="lin" valueType="num">
                                      <p:cBhvr>
                                        <p:cTn id="15" dur="300" fill="hold"/>
                                        <p:tgtEl>
                                          <p:spTgt spid="7"/>
                                        </p:tgtEl>
                                        <p:attrNameLst>
                                          <p:attrName>style.rotation</p:attrName>
                                        </p:attrNameLst>
                                      </p:cBhvr>
                                      <p:tavLst>
                                        <p:tav tm="0">
                                          <p:val>
                                            <p:fltVal val="360"/>
                                          </p:val>
                                        </p:tav>
                                        <p:tav tm="100000">
                                          <p:val>
                                            <p:fltVal val="0"/>
                                          </p:val>
                                        </p:tav>
                                      </p:tavLst>
                                    </p:anim>
                                    <p:animEffect transition="in" filter="fade">
                                      <p:cBhvr>
                                        <p:cTn id="16" dur="300"/>
                                        <p:tgtEl>
                                          <p:spTgt spid="7"/>
                                        </p:tgtEl>
                                      </p:cBhvr>
                                    </p:animEffect>
                                  </p:childTnLst>
                                </p:cTn>
                              </p:par>
                              <p:par>
                                <p:cTn id="17" presetID="49" presetClass="entr" presetSubtype="0" decel="100000" fill="hold" grpId="0" nodeType="withEffect">
                                  <p:stCondLst>
                                    <p:cond delay="400"/>
                                  </p:stCondLst>
                                  <p:childTnLst>
                                    <p:set>
                                      <p:cBhvr>
                                        <p:cTn id="18" dur="1" fill="hold">
                                          <p:stCondLst>
                                            <p:cond delay="0"/>
                                          </p:stCondLst>
                                        </p:cTn>
                                        <p:tgtEl>
                                          <p:spTgt spid="9"/>
                                        </p:tgtEl>
                                        <p:attrNameLst>
                                          <p:attrName>style.visibility</p:attrName>
                                        </p:attrNameLst>
                                      </p:cBhvr>
                                      <p:to>
                                        <p:strVal val="visible"/>
                                      </p:to>
                                    </p:set>
                                    <p:anim calcmode="lin" valueType="num">
                                      <p:cBhvr>
                                        <p:cTn id="19" dur="300" fill="hold"/>
                                        <p:tgtEl>
                                          <p:spTgt spid="9"/>
                                        </p:tgtEl>
                                        <p:attrNameLst>
                                          <p:attrName>ppt_w</p:attrName>
                                        </p:attrNameLst>
                                      </p:cBhvr>
                                      <p:tavLst>
                                        <p:tav tm="0">
                                          <p:val>
                                            <p:fltVal val="0"/>
                                          </p:val>
                                        </p:tav>
                                        <p:tav tm="100000">
                                          <p:val>
                                            <p:strVal val="#ppt_w"/>
                                          </p:val>
                                        </p:tav>
                                      </p:tavLst>
                                    </p:anim>
                                    <p:anim calcmode="lin" valueType="num">
                                      <p:cBhvr>
                                        <p:cTn id="20" dur="300" fill="hold"/>
                                        <p:tgtEl>
                                          <p:spTgt spid="9"/>
                                        </p:tgtEl>
                                        <p:attrNameLst>
                                          <p:attrName>ppt_h</p:attrName>
                                        </p:attrNameLst>
                                      </p:cBhvr>
                                      <p:tavLst>
                                        <p:tav tm="0">
                                          <p:val>
                                            <p:fltVal val="0"/>
                                          </p:val>
                                        </p:tav>
                                        <p:tav tm="100000">
                                          <p:val>
                                            <p:strVal val="#ppt_h"/>
                                          </p:val>
                                        </p:tav>
                                      </p:tavLst>
                                    </p:anim>
                                    <p:anim calcmode="lin" valueType="num">
                                      <p:cBhvr>
                                        <p:cTn id="21" dur="300" fill="hold"/>
                                        <p:tgtEl>
                                          <p:spTgt spid="9"/>
                                        </p:tgtEl>
                                        <p:attrNameLst>
                                          <p:attrName>style.rotation</p:attrName>
                                        </p:attrNameLst>
                                      </p:cBhvr>
                                      <p:tavLst>
                                        <p:tav tm="0">
                                          <p:val>
                                            <p:fltVal val="360"/>
                                          </p:val>
                                        </p:tav>
                                        <p:tav tm="100000">
                                          <p:val>
                                            <p:fltVal val="0"/>
                                          </p:val>
                                        </p:tav>
                                      </p:tavLst>
                                    </p:anim>
                                    <p:animEffect transition="in" filter="fade">
                                      <p:cBhvr>
                                        <p:cTn id="22" dur="300"/>
                                        <p:tgtEl>
                                          <p:spTgt spid="9"/>
                                        </p:tgtEl>
                                      </p:cBhvr>
                                    </p:animEffect>
                                  </p:childTnLst>
                                </p:cTn>
                              </p:par>
                              <p:par>
                                <p:cTn id="23" presetID="10" presetClass="entr" presetSubtype="0" fill="hold" grpId="0" nodeType="withEffect">
                                  <p:stCondLst>
                                    <p:cond delay="20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300"/>
                                        <p:tgtEl>
                                          <p:spTgt spid="5"/>
                                        </p:tgtEl>
                                      </p:cBhvr>
                                    </p:animEffect>
                                  </p:childTnLst>
                                </p:cTn>
                              </p:par>
                              <p:par>
                                <p:cTn id="26" presetID="10" presetClass="entr" presetSubtype="0" fill="hold" grpId="0" nodeType="withEffect">
                                  <p:stCondLst>
                                    <p:cond delay="40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300"/>
                                        <p:tgtEl>
                                          <p:spTgt spid="6"/>
                                        </p:tgtEl>
                                      </p:cBhvr>
                                    </p:animEffect>
                                  </p:childTnLst>
                                </p:cTn>
                              </p:par>
                              <p:par>
                                <p:cTn id="29" presetID="10" presetClass="entr" presetSubtype="0" fill="hold" grpId="0" nodeType="withEffect">
                                  <p:stCondLst>
                                    <p:cond delay="60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300"/>
                                        <p:tgtEl>
                                          <p:spTgt spid="8"/>
                                        </p:tgtEl>
                                      </p:cBhvr>
                                    </p:animEffect>
                                  </p:childTnLst>
                                </p:cTn>
                              </p:par>
                              <p:par>
                                <p:cTn id="32" presetID="49" presetClass="entr" presetSubtype="0" decel="100000" fill="hold" grpId="0" nodeType="withEffect">
                                  <p:stCondLst>
                                    <p:cond delay="800"/>
                                  </p:stCondLst>
                                  <p:childTnLst>
                                    <p:set>
                                      <p:cBhvr>
                                        <p:cTn id="33" dur="1" fill="hold">
                                          <p:stCondLst>
                                            <p:cond delay="0"/>
                                          </p:stCondLst>
                                        </p:cTn>
                                        <p:tgtEl>
                                          <p:spTgt spid="12"/>
                                        </p:tgtEl>
                                        <p:attrNameLst>
                                          <p:attrName>style.visibility</p:attrName>
                                        </p:attrNameLst>
                                      </p:cBhvr>
                                      <p:to>
                                        <p:strVal val="visible"/>
                                      </p:to>
                                    </p:set>
                                    <p:anim calcmode="lin" valueType="num">
                                      <p:cBhvr>
                                        <p:cTn id="34" dur="300" fill="hold"/>
                                        <p:tgtEl>
                                          <p:spTgt spid="12"/>
                                        </p:tgtEl>
                                        <p:attrNameLst>
                                          <p:attrName>ppt_w</p:attrName>
                                        </p:attrNameLst>
                                      </p:cBhvr>
                                      <p:tavLst>
                                        <p:tav tm="0">
                                          <p:val>
                                            <p:fltVal val="0"/>
                                          </p:val>
                                        </p:tav>
                                        <p:tav tm="100000">
                                          <p:val>
                                            <p:strVal val="#ppt_w"/>
                                          </p:val>
                                        </p:tav>
                                      </p:tavLst>
                                    </p:anim>
                                    <p:anim calcmode="lin" valueType="num">
                                      <p:cBhvr>
                                        <p:cTn id="35" dur="300" fill="hold"/>
                                        <p:tgtEl>
                                          <p:spTgt spid="12"/>
                                        </p:tgtEl>
                                        <p:attrNameLst>
                                          <p:attrName>ppt_h</p:attrName>
                                        </p:attrNameLst>
                                      </p:cBhvr>
                                      <p:tavLst>
                                        <p:tav tm="0">
                                          <p:val>
                                            <p:fltVal val="0"/>
                                          </p:val>
                                        </p:tav>
                                        <p:tav tm="100000">
                                          <p:val>
                                            <p:strVal val="#ppt_h"/>
                                          </p:val>
                                        </p:tav>
                                      </p:tavLst>
                                    </p:anim>
                                    <p:anim calcmode="lin" valueType="num">
                                      <p:cBhvr>
                                        <p:cTn id="36" dur="300" fill="hold"/>
                                        <p:tgtEl>
                                          <p:spTgt spid="12"/>
                                        </p:tgtEl>
                                        <p:attrNameLst>
                                          <p:attrName>style.rotation</p:attrName>
                                        </p:attrNameLst>
                                      </p:cBhvr>
                                      <p:tavLst>
                                        <p:tav tm="0">
                                          <p:val>
                                            <p:fltVal val="360"/>
                                          </p:val>
                                        </p:tav>
                                        <p:tav tm="100000">
                                          <p:val>
                                            <p:fltVal val="0"/>
                                          </p:val>
                                        </p:tav>
                                      </p:tavLst>
                                    </p:anim>
                                    <p:animEffect transition="in" filter="fade">
                                      <p:cBhvr>
                                        <p:cTn id="37" dur="300"/>
                                        <p:tgtEl>
                                          <p:spTgt spid="12"/>
                                        </p:tgtEl>
                                      </p:cBhvr>
                                    </p:animEffect>
                                  </p:childTnLst>
                                </p:cTn>
                              </p:par>
                              <p:par>
                                <p:cTn id="38" presetID="10" presetClass="entr" presetSubtype="0" fill="hold" grpId="0" nodeType="withEffect">
                                  <p:stCondLst>
                                    <p:cond delay="8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3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animBg="1"/>
      <p:bldP spid="6" grpId="0" animBg="1"/>
      <p:bldP spid="7" grpId="0" animBg="1"/>
      <p:bldP spid="8" grpId="0" animBg="1"/>
      <p:bldP spid="9" grpId="0" animBg="1"/>
      <p:bldP spid="11"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2BFEF56-C71E-4E8D-AC1F-390CCE748918}"/>
              </a:ext>
            </a:extLst>
          </p:cNvPr>
          <p:cNvSpPr txBox="1">
            <a:spLocks/>
          </p:cNvSpPr>
          <p:nvPr/>
        </p:nvSpPr>
        <p:spPr>
          <a:xfrm>
            <a:off x="2402314" y="707840"/>
            <a:ext cx="6881795" cy="62257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b-NO" sz="3200" dirty="0">
                <a:latin typeface="Microsoft YaHei UI Light" panose="020B0502040204020203" pitchFamily="34" charset="-122"/>
                <a:ea typeface="Microsoft YaHei UI Light" panose="020B0502040204020203" pitchFamily="34" charset="-122"/>
              </a:rPr>
              <a:t>Plan for 2024</a:t>
            </a:r>
          </a:p>
        </p:txBody>
      </p:sp>
      <p:sp>
        <p:nvSpPr>
          <p:cNvPr id="5" name="TextBox 4">
            <a:extLst>
              <a:ext uri="{FF2B5EF4-FFF2-40B4-BE49-F238E27FC236}">
                <a16:creationId xmlns:a16="http://schemas.microsoft.com/office/drawing/2014/main" id="{F0A348CB-8FBA-4BEF-B67D-7A4E10C29C1E}"/>
              </a:ext>
            </a:extLst>
          </p:cNvPr>
          <p:cNvSpPr txBox="1"/>
          <p:nvPr/>
        </p:nvSpPr>
        <p:spPr>
          <a:xfrm>
            <a:off x="2402314" y="1639937"/>
            <a:ext cx="8407155" cy="2154387"/>
          </a:xfrm>
          <a:prstGeom prst="rect">
            <a:avLst/>
          </a:prstGeom>
          <a:noFill/>
        </p:spPr>
        <p:txBody>
          <a:bodyPr wrap="square" lIns="457140" tIns="182856" rIns="228570" bIns="182856" rtlCol="0" anchor="ctr">
            <a:spAutoFit/>
          </a:bodyPr>
          <a:lstStyle>
            <a:defPPr>
              <a:defRPr lang="en-US"/>
            </a:defPPr>
            <a:lvl1pPr algn="just">
              <a:defRPr sz="1600">
                <a:latin typeface="Microsoft YaHei UI Light" panose="020B0502040204020203" pitchFamily="34" charset="-122"/>
                <a:ea typeface="Microsoft YaHei UI Light" panose="020B0502040204020203" pitchFamily="34" charset="-122"/>
              </a:defRPr>
            </a:lvl1pPr>
          </a:lstStyle>
          <a:p>
            <a:r>
              <a:rPr lang="nb-NO" sz="1800" dirty="0">
                <a:solidFill>
                  <a:srgbClr val="0070C0"/>
                </a:solidFill>
                <a:latin typeface="Microsoft JhengHei UI Light"/>
                <a:ea typeface="Microsoft JhengHei UI Light"/>
              </a:rPr>
              <a:t>Mål for innholdet på nettsidene</a:t>
            </a:r>
          </a:p>
          <a:p>
            <a:pPr marL="171450" indent="-171450">
              <a:buFont typeface="Arial" panose="020B0604020202020204" pitchFamily="34" charset="0"/>
              <a:buChar char="•"/>
            </a:pPr>
            <a:r>
              <a:rPr lang="nb-NO" sz="1400" dirty="0">
                <a:latin typeface="Microsoft YaHei UI Light"/>
                <a:ea typeface="Microsoft YaHei UI Light"/>
              </a:rPr>
              <a:t>Pasientinformasjonen skal være konsistent og pålitelig, lett tilgjengelig, oppdatert, av høy kvalitet. Informasjonen skal henge sammen med informasjon til pasienter på helsenorge.no, som er det offentlige nettstedet for informasjon om og tilgang til helsetjenester for befolkningen.</a:t>
            </a:r>
          </a:p>
          <a:p>
            <a:pPr marL="171450" indent="-171450">
              <a:buFont typeface="Arial" panose="020B0604020202020204" pitchFamily="34" charset="0"/>
              <a:buChar char="•"/>
            </a:pPr>
            <a:r>
              <a:rPr lang="nb-NO" sz="1400" dirty="0">
                <a:latin typeface="Microsoft YaHei UI Light"/>
                <a:ea typeface="Microsoft YaHei UI Light"/>
              </a:rPr>
              <a:t>Tilrettelegging og synliggjøring av riktig innhold på nettsidene skal bidra til å styrke spesialisthelsetjenesten og sykehusene sin posisjon som attraktiv arbeidsgiver og som ledende aktør innen helseforskning og utdanning av helsepersonell. </a:t>
            </a:r>
          </a:p>
        </p:txBody>
      </p:sp>
      <p:sp>
        <p:nvSpPr>
          <p:cNvPr id="2" name="Oval 1">
            <a:extLst>
              <a:ext uri="{FF2B5EF4-FFF2-40B4-BE49-F238E27FC236}">
                <a16:creationId xmlns:a16="http://schemas.microsoft.com/office/drawing/2014/main" id="{3EED8573-5BCE-4F43-9AB5-644A6A6AB6E9}"/>
              </a:ext>
            </a:extLst>
          </p:cNvPr>
          <p:cNvSpPr/>
          <p:nvPr/>
        </p:nvSpPr>
        <p:spPr>
          <a:xfrm>
            <a:off x="1251647" y="2106231"/>
            <a:ext cx="1114870" cy="1134881"/>
          </a:xfrm>
          <a:prstGeom prst="ellipse">
            <a:avLst/>
          </a:prstGeom>
          <a:solidFill>
            <a:srgbClr val="E3F3E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nb-NO" sz="4399">
              <a:latin typeface="Microsoft YaHei UI Light" panose="020B0502040204020203" pitchFamily="34" charset="-122"/>
              <a:ea typeface="Microsoft YaHei UI Light" panose="020B0502040204020203" pitchFamily="34" charset="-122"/>
              <a:cs typeface="Arial" panose="020B0604020202020204" pitchFamily="34" charset="0"/>
            </a:endParaRPr>
          </a:p>
        </p:txBody>
      </p:sp>
      <p:sp>
        <p:nvSpPr>
          <p:cNvPr id="6" name="TextBox 5">
            <a:extLst>
              <a:ext uri="{FF2B5EF4-FFF2-40B4-BE49-F238E27FC236}">
                <a16:creationId xmlns:a16="http://schemas.microsoft.com/office/drawing/2014/main" id="{DD791C16-4329-4411-A731-6A96B9DAD538}"/>
              </a:ext>
            </a:extLst>
          </p:cNvPr>
          <p:cNvSpPr txBox="1"/>
          <p:nvPr/>
        </p:nvSpPr>
        <p:spPr>
          <a:xfrm>
            <a:off x="2402314" y="3772981"/>
            <a:ext cx="8407155" cy="1723500"/>
          </a:xfrm>
          <a:prstGeom prst="rect">
            <a:avLst/>
          </a:prstGeom>
          <a:noFill/>
        </p:spPr>
        <p:txBody>
          <a:bodyPr wrap="square" lIns="457140" tIns="182856" rIns="228570" bIns="182856" rtlCol="0" anchor="ctr">
            <a:spAutoFit/>
          </a:bodyPr>
          <a:lstStyle/>
          <a:p>
            <a:pPr algn="just"/>
            <a:r>
              <a:rPr lang="nb-NO" sz="1800" dirty="0">
                <a:solidFill>
                  <a:srgbClr val="0070C0"/>
                </a:solidFill>
                <a:latin typeface="Microsoft JhengHei UI Light" panose="020B0304030504040204" pitchFamily="34" charset="-120"/>
                <a:ea typeface="Microsoft JhengHei UI Light" panose="020B0304030504040204" pitchFamily="34" charset="-120"/>
              </a:rPr>
              <a:t>Mål for teknisk drift og løsning</a:t>
            </a:r>
          </a:p>
          <a:p>
            <a:pPr marL="171450" indent="-171450" algn="just">
              <a:buFont typeface="Arial" panose="020B0604020202020204" pitchFamily="34" charset="0"/>
              <a:buChar char="•"/>
            </a:pPr>
            <a:r>
              <a:rPr lang="nb-NO" dirty="0">
                <a:latin typeface="Microsoft YaHei UI Light"/>
                <a:ea typeface="Microsoft YaHei UI Light"/>
              </a:rPr>
              <a:t>Gjennom felles forvaltning, samarbeid og en profesjonell og enhetlig avtalepart til NHN, spares ressurser i sykehusene.</a:t>
            </a:r>
          </a:p>
          <a:p>
            <a:pPr marL="171450" indent="-171450" algn="just">
              <a:buFont typeface="Arial" panose="020B0604020202020204" pitchFamily="34" charset="0"/>
              <a:buChar char="•"/>
            </a:pPr>
            <a:r>
              <a:rPr lang="nb-NO" dirty="0">
                <a:latin typeface="Microsoft YaHei UI Light"/>
                <a:ea typeface="Microsoft YaHei UI Light"/>
              </a:rPr>
              <a:t>Funksjonalitet som utvikles skal legge til rette for deling av innhold nasjonalt. </a:t>
            </a:r>
          </a:p>
          <a:p>
            <a:pPr marL="171450" indent="-171450" algn="just">
              <a:buFont typeface="Arial" panose="020B0604020202020204" pitchFamily="34" charset="0"/>
              <a:buChar char="•"/>
            </a:pPr>
            <a:r>
              <a:rPr lang="nb-NO" dirty="0">
                <a:latin typeface="Microsoft YaHei UI Light"/>
                <a:ea typeface="Microsoft YaHei UI Light"/>
              </a:rPr>
              <a:t>Det skal tilrettelegges for integrasjon med andre relevante datasystemer for god informasjonsflyt.</a:t>
            </a:r>
          </a:p>
        </p:txBody>
      </p:sp>
      <p:sp>
        <p:nvSpPr>
          <p:cNvPr id="7" name="Oval 6">
            <a:extLst>
              <a:ext uri="{FF2B5EF4-FFF2-40B4-BE49-F238E27FC236}">
                <a16:creationId xmlns:a16="http://schemas.microsoft.com/office/drawing/2014/main" id="{1FE8BD92-16FC-4106-82F3-981E29C1A490}"/>
              </a:ext>
            </a:extLst>
          </p:cNvPr>
          <p:cNvSpPr/>
          <p:nvPr/>
        </p:nvSpPr>
        <p:spPr>
          <a:xfrm>
            <a:off x="1208212" y="4123073"/>
            <a:ext cx="1114870" cy="1134881"/>
          </a:xfrm>
          <a:prstGeom prst="ellipse">
            <a:avLst/>
          </a:prstGeom>
          <a:solidFill>
            <a:srgbClr val="E3F3E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nb-NO" sz="4399">
              <a:latin typeface="Microsoft YaHei UI Light" panose="020B0502040204020203" pitchFamily="34" charset="-122"/>
              <a:ea typeface="Microsoft YaHei UI Light" panose="020B0502040204020203" pitchFamily="34" charset="-122"/>
              <a:cs typeface="Arial" panose="020B0604020202020204" pitchFamily="34" charset="0"/>
            </a:endParaRPr>
          </a:p>
        </p:txBody>
      </p:sp>
      <p:pic>
        <p:nvPicPr>
          <p:cNvPr id="10" name="Grafikk 4" descr="Internett med heldekkende fyll">
            <a:extLst>
              <a:ext uri="{FF2B5EF4-FFF2-40B4-BE49-F238E27FC236}">
                <a16:creationId xmlns:a16="http://schemas.microsoft.com/office/drawing/2014/main" id="{67EFF2F4-6196-4C78-9CB4-6A598DA4E77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371028" y="2216471"/>
            <a:ext cx="914400" cy="914400"/>
          </a:xfrm>
          <a:prstGeom prst="rect">
            <a:avLst/>
          </a:prstGeom>
        </p:spPr>
      </p:pic>
      <p:pic>
        <p:nvPicPr>
          <p:cNvPr id="13" name="Grafikk 6" descr="Database med heldekkende fyll">
            <a:extLst>
              <a:ext uri="{FF2B5EF4-FFF2-40B4-BE49-F238E27FC236}">
                <a16:creationId xmlns:a16="http://schemas.microsoft.com/office/drawing/2014/main" id="{41B8F947-D819-42AB-8C73-D090CF3CC05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351882" y="4233313"/>
            <a:ext cx="914400" cy="914400"/>
          </a:xfrm>
          <a:prstGeom prst="rect">
            <a:avLst/>
          </a:prstGeom>
        </p:spPr>
      </p:pic>
    </p:spTree>
    <p:extLst>
      <p:ext uri="{BB962C8B-B14F-4D97-AF65-F5344CB8AC3E}">
        <p14:creationId xmlns:p14="http://schemas.microsoft.com/office/powerpoint/2010/main" val="2796690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300" fill="hold"/>
                                        <p:tgtEl>
                                          <p:spTgt spid="2"/>
                                        </p:tgtEl>
                                        <p:attrNameLst>
                                          <p:attrName>ppt_w</p:attrName>
                                        </p:attrNameLst>
                                      </p:cBhvr>
                                      <p:tavLst>
                                        <p:tav tm="0">
                                          <p:val>
                                            <p:fltVal val="0"/>
                                          </p:val>
                                        </p:tav>
                                        <p:tav tm="100000">
                                          <p:val>
                                            <p:strVal val="#ppt_w"/>
                                          </p:val>
                                        </p:tav>
                                      </p:tavLst>
                                    </p:anim>
                                    <p:anim calcmode="lin" valueType="num">
                                      <p:cBhvr>
                                        <p:cTn id="8" dur="300" fill="hold"/>
                                        <p:tgtEl>
                                          <p:spTgt spid="2"/>
                                        </p:tgtEl>
                                        <p:attrNameLst>
                                          <p:attrName>ppt_h</p:attrName>
                                        </p:attrNameLst>
                                      </p:cBhvr>
                                      <p:tavLst>
                                        <p:tav tm="0">
                                          <p:val>
                                            <p:fltVal val="0"/>
                                          </p:val>
                                        </p:tav>
                                        <p:tav tm="100000">
                                          <p:val>
                                            <p:strVal val="#ppt_h"/>
                                          </p:val>
                                        </p:tav>
                                      </p:tavLst>
                                    </p:anim>
                                    <p:anim calcmode="lin" valueType="num">
                                      <p:cBhvr>
                                        <p:cTn id="9" dur="300" fill="hold"/>
                                        <p:tgtEl>
                                          <p:spTgt spid="2"/>
                                        </p:tgtEl>
                                        <p:attrNameLst>
                                          <p:attrName>style.rotation</p:attrName>
                                        </p:attrNameLst>
                                      </p:cBhvr>
                                      <p:tavLst>
                                        <p:tav tm="0">
                                          <p:val>
                                            <p:fltVal val="360"/>
                                          </p:val>
                                        </p:tav>
                                        <p:tav tm="100000">
                                          <p:val>
                                            <p:fltVal val="0"/>
                                          </p:val>
                                        </p:tav>
                                      </p:tavLst>
                                    </p:anim>
                                    <p:animEffect transition="in" filter="fade">
                                      <p:cBhvr>
                                        <p:cTn id="10" dur="300"/>
                                        <p:tgtEl>
                                          <p:spTgt spid="2"/>
                                        </p:tgtEl>
                                      </p:cBhvr>
                                    </p:animEffect>
                                  </p:childTnLst>
                                </p:cTn>
                              </p:par>
                              <p:par>
                                <p:cTn id="11" presetID="49" presetClass="entr" presetSubtype="0" decel="100000" fill="hold" grpId="0" nodeType="withEffect">
                                  <p:stCondLst>
                                    <p:cond delay="200"/>
                                  </p:stCondLst>
                                  <p:childTnLst>
                                    <p:set>
                                      <p:cBhvr>
                                        <p:cTn id="12" dur="1" fill="hold">
                                          <p:stCondLst>
                                            <p:cond delay="0"/>
                                          </p:stCondLst>
                                        </p:cTn>
                                        <p:tgtEl>
                                          <p:spTgt spid="7"/>
                                        </p:tgtEl>
                                        <p:attrNameLst>
                                          <p:attrName>style.visibility</p:attrName>
                                        </p:attrNameLst>
                                      </p:cBhvr>
                                      <p:to>
                                        <p:strVal val="visible"/>
                                      </p:to>
                                    </p:set>
                                    <p:anim calcmode="lin" valueType="num">
                                      <p:cBhvr>
                                        <p:cTn id="13" dur="300" fill="hold"/>
                                        <p:tgtEl>
                                          <p:spTgt spid="7"/>
                                        </p:tgtEl>
                                        <p:attrNameLst>
                                          <p:attrName>ppt_w</p:attrName>
                                        </p:attrNameLst>
                                      </p:cBhvr>
                                      <p:tavLst>
                                        <p:tav tm="0">
                                          <p:val>
                                            <p:fltVal val="0"/>
                                          </p:val>
                                        </p:tav>
                                        <p:tav tm="100000">
                                          <p:val>
                                            <p:strVal val="#ppt_w"/>
                                          </p:val>
                                        </p:tav>
                                      </p:tavLst>
                                    </p:anim>
                                    <p:anim calcmode="lin" valueType="num">
                                      <p:cBhvr>
                                        <p:cTn id="14" dur="300" fill="hold"/>
                                        <p:tgtEl>
                                          <p:spTgt spid="7"/>
                                        </p:tgtEl>
                                        <p:attrNameLst>
                                          <p:attrName>ppt_h</p:attrName>
                                        </p:attrNameLst>
                                      </p:cBhvr>
                                      <p:tavLst>
                                        <p:tav tm="0">
                                          <p:val>
                                            <p:fltVal val="0"/>
                                          </p:val>
                                        </p:tav>
                                        <p:tav tm="100000">
                                          <p:val>
                                            <p:strVal val="#ppt_h"/>
                                          </p:val>
                                        </p:tav>
                                      </p:tavLst>
                                    </p:anim>
                                    <p:anim calcmode="lin" valueType="num">
                                      <p:cBhvr>
                                        <p:cTn id="15" dur="300" fill="hold"/>
                                        <p:tgtEl>
                                          <p:spTgt spid="7"/>
                                        </p:tgtEl>
                                        <p:attrNameLst>
                                          <p:attrName>style.rotation</p:attrName>
                                        </p:attrNameLst>
                                      </p:cBhvr>
                                      <p:tavLst>
                                        <p:tav tm="0">
                                          <p:val>
                                            <p:fltVal val="360"/>
                                          </p:val>
                                        </p:tav>
                                        <p:tav tm="100000">
                                          <p:val>
                                            <p:fltVal val="0"/>
                                          </p:val>
                                        </p:tav>
                                      </p:tavLst>
                                    </p:anim>
                                    <p:animEffect transition="in" filter="fade">
                                      <p:cBhvr>
                                        <p:cTn id="16" dur="300"/>
                                        <p:tgtEl>
                                          <p:spTgt spid="7"/>
                                        </p:tgtEl>
                                      </p:cBhvr>
                                    </p:animEffect>
                                  </p:childTnLst>
                                </p:cTn>
                              </p:par>
                              <p:par>
                                <p:cTn id="17" presetID="10" presetClass="entr" presetSubtype="0" fill="hold" grpId="0" nodeType="withEffect">
                                  <p:stCondLst>
                                    <p:cond delay="2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300"/>
                                        <p:tgtEl>
                                          <p:spTgt spid="5"/>
                                        </p:tgtEl>
                                      </p:cBhvr>
                                    </p:animEffect>
                                  </p:childTnLst>
                                </p:cTn>
                              </p:par>
                              <p:par>
                                <p:cTn id="20" presetID="10" presetClass="entr" presetSubtype="0" fill="hold" grpId="0" nodeType="withEffect">
                                  <p:stCondLst>
                                    <p:cond delay="4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3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 grpId="0" animBg="1"/>
      <p:bldP spid="6" grpId="0"/>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13372BDA-7B48-4B8E-85AD-39E8A07046AB}"/>
              </a:ext>
            </a:extLst>
          </p:cNvPr>
          <p:cNvSpPr/>
          <p:nvPr/>
        </p:nvSpPr>
        <p:spPr>
          <a:xfrm>
            <a:off x="7523320" y="3481809"/>
            <a:ext cx="279872" cy="28280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latin typeface="Microsoft JhengHei UI Light" panose="020B0304030504040204" pitchFamily="34" charset="-120"/>
              <a:ea typeface="Microsoft JhengHei UI Light" panose="020B0304030504040204" pitchFamily="34" charset="-120"/>
            </a:endParaRPr>
          </a:p>
        </p:txBody>
      </p:sp>
      <p:sp>
        <p:nvSpPr>
          <p:cNvPr id="4112" name="Rectangle 4111">
            <a:extLst>
              <a:ext uri="{FF2B5EF4-FFF2-40B4-BE49-F238E27FC236}">
                <a16:creationId xmlns:a16="http://schemas.microsoft.com/office/drawing/2014/main" id="{A199B5FA-24FE-4E45-A1B5-B7A7424146F1}"/>
              </a:ext>
            </a:extLst>
          </p:cNvPr>
          <p:cNvSpPr/>
          <p:nvPr/>
        </p:nvSpPr>
        <p:spPr>
          <a:xfrm>
            <a:off x="6925202" y="2773705"/>
            <a:ext cx="284631" cy="37457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latin typeface="Microsoft JhengHei UI Light" panose="020B0304030504040204" pitchFamily="34" charset="-120"/>
              <a:ea typeface="Microsoft JhengHei UI Light" panose="020B0304030504040204" pitchFamily="34" charset="-120"/>
            </a:endParaRPr>
          </a:p>
        </p:txBody>
      </p:sp>
      <p:sp>
        <p:nvSpPr>
          <p:cNvPr id="50" name="Rectangle 49">
            <a:extLst>
              <a:ext uri="{FF2B5EF4-FFF2-40B4-BE49-F238E27FC236}">
                <a16:creationId xmlns:a16="http://schemas.microsoft.com/office/drawing/2014/main" id="{3D86998E-073A-4E8B-A666-D091A767B9FE}"/>
              </a:ext>
            </a:extLst>
          </p:cNvPr>
          <p:cNvSpPr/>
          <p:nvPr/>
        </p:nvSpPr>
        <p:spPr>
          <a:xfrm>
            <a:off x="7176707" y="1630852"/>
            <a:ext cx="381724" cy="52267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latin typeface="Microsoft JhengHei UI Light" panose="020B0304030504040204" pitchFamily="34" charset="-120"/>
              <a:ea typeface="Microsoft JhengHei UI Light" panose="020B0304030504040204" pitchFamily="34" charset="-120"/>
            </a:endParaRPr>
          </a:p>
        </p:txBody>
      </p:sp>
      <p:sp useBgFill="1">
        <p:nvSpPr>
          <p:cNvPr id="4107" name="Freeform 38">
            <a:extLst>
              <a:ext uri="{FF2B5EF4-FFF2-40B4-BE49-F238E27FC236}">
                <a16:creationId xmlns:a16="http://schemas.microsoft.com/office/drawing/2014/main" id="{536F0C6B-30C3-42D1-8D6E-8B66722DD7ED}"/>
              </a:ext>
            </a:extLst>
          </p:cNvPr>
          <p:cNvSpPr>
            <a:spLocks/>
          </p:cNvSpPr>
          <p:nvPr/>
        </p:nvSpPr>
        <p:spPr bwMode="auto">
          <a:xfrm>
            <a:off x="6795548" y="5476672"/>
            <a:ext cx="1137296" cy="1897009"/>
          </a:xfrm>
          <a:custGeom>
            <a:avLst/>
            <a:gdLst>
              <a:gd name="T0" fmla="*/ 252 w 284"/>
              <a:gd name="T1" fmla="*/ 25 h 477"/>
              <a:gd name="T2" fmla="*/ 221 w 284"/>
              <a:gd name="T3" fmla="*/ 40 h 477"/>
              <a:gd name="T4" fmla="*/ 182 w 284"/>
              <a:gd name="T5" fmla="*/ 0 h 477"/>
              <a:gd name="T6" fmla="*/ 142 w 284"/>
              <a:gd name="T7" fmla="*/ 40 h 477"/>
              <a:gd name="T8" fmla="*/ 103 w 284"/>
              <a:gd name="T9" fmla="*/ 0 h 477"/>
              <a:gd name="T10" fmla="*/ 63 w 284"/>
              <a:gd name="T11" fmla="*/ 40 h 477"/>
              <a:gd name="T12" fmla="*/ 32 w 284"/>
              <a:gd name="T13" fmla="*/ 25 h 477"/>
              <a:gd name="T14" fmla="*/ 0 w 284"/>
              <a:gd name="T15" fmla="*/ 25 h 477"/>
              <a:gd name="T16" fmla="*/ 0 w 284"/>
              <a:gd name="T17" fmla="*/ 477 h 477"/>
              <a:gd name="T18" fmla="*/ 284 w 284"/>
              <a:gd name="T19" fmla="*/ 477 h 477"/>
              <a:gd name="T20" fmla="*/ 284 w 284"/>
              <a:gd name="T21" fmla="*/ 25 h 477"/>
              <a:gd name="T22" fmla="*/ 252 w 284"/>
              <a:gd name="T23" fmla="*/ 25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4" h="477">
                <a:moveTo>
                  <a:pt x="252" y="25"/>
                </a:moveTo>
                <a:cubicBezTo>
                  <a:pt x="245" y="34"/>
                  <a:pt x="234" y="40"/>
                  <a:pt x="221" y="40"/>
                </a:cubicBezTo>
                <a:cubicBezTo>
                  <a:pt x="199" y="40"/>
                  <a:pt x="182" y="22"/>
                  <a:pt x="182" y="0"/>
                </a:cubicBezTo>
                <a:cubicBezTo>
                  <a:pt x="182" y="22"/>
                  <a:pt x="164" y="40"/>
                  <a:pt x="142" y="40"/>
                </a:cubicBezTo>
                <a:cubicBezTo>
                  <a:pt x="120" y="40"/>
                  <a:pt x="103" y="22"/>
                  <a:pt x="103" y="0"/>
                </a:cubicBezTo>
                <a:cubicBezTo>
                  <a:pt x="103" y="22"/>
                  <a:pt x="85" y="40"/>
                  <a:pt x="63" y="40"/>
                </a:cubicBezTo>
                <a:cubicBezTo>
                  <a:pt x="51" y="40"/>
                  <a:pt x="39" y="34"/>
                  <a:pt x="32" y="25"/>
                </a:cubicBezTo>
                <a:cubicBezTo>
                  <a:pt x="0" y="25"/>
                  <a:pt x="0" y="25"/>
                  <a:pt x="0" y="25"/>
                </a:cubicBezTo>
                <a:cubicBezTo>
                  <a:pt x="0" y="477"/>
                  <a:pt x="0" y="477"/>
                  <a:pt x="0" y="477"/>
                </a:cubicBezTo>
                <a:cubicBezTo>
                  <a:pt x="284" y="477"/>
                  <a:pt x="284" y="477"/>
                  <a:pt x="284" y="477"/>
                </a:cubicBezTo>
                <a:cubicBezTo>
                  <a:pt x="284" y="25"/>
                  <a:pt x="284" y="25"/>
                  <a:pt x="284" y="25"/>
                </a:cubicBezTo>
                <a:lnTo>
                  <a:pt x="252" y="25"/>
                </a:lnTo>
                <a:close/>
              </a:path>
            </a:pathLst>
          </a:custGeom>
          <a:ln>
            <a:noFill/>
          </a:ln>
        </p:spPr>
        <p:txBody>
          <a:bodyPr vert="horz" wrap="square" lIns="45715" tIns="22857" rIns="45715" bIns="22857" numCol="1" anchor="t" anchorCtr="0" compatLnSpc="1">
            <a:prstTxWarp prst="textNoShape">
              <a:avLst/>
            </a:prstTxWarp>
          </a:bodyPr>
          <a:lstStyle/>
          <a:p>
            <a:endParaRPr lang="nb-NO" sz="900">
              <a:latin typeface="Microsoft JhengHei UI Light" panose="020B0304030504040204" pitchFamily="34" charset="-120"/>
              <a:ea typeface="Microsoft JhengHei UI Light" panose="020B0304030504040204" pitchFamily="34" charset="-120"/>
            </a:endParaRPr>
          </a:p>
        </p:txBody>
      </p:sp>
      <p:grpSp>
        <p:nvGrpSpPr>
          <p:cNvPr id="4126" name="Group 4125">
            <a:extLst>
              <a:ext uri="{FF2B5EF4-FFF2-40B4-BE49-F238E27FC236}">
                <a16:creationId xmlns:a16="http://schemas.microsoft.com/office/drawing/2014/main" id="{6675166A-E98D-4D09-B23E-BFCE76AF4931}"/>
              </a:ext>
            </a:extLst>
          </p:cNvPr>
          <p:cNvGrpSpPr/>
          <p:nvPr/>
        </p:nvGrpSpPr>
        <p:grpSpPr>
          <a:xfrm>
            <a:off x="4100367" y="2405625"/>
            <a:ext cx="3076340" cy="1542036"/>
            <a:chOff x="8201801" y="4810983"/>
            <a:chExt cx="6153483" cy="3084473"/>
          </a:xfrm>
        </p:grpSpPr>
        <p:sp>
          <p:nvSpPr>
            <p:cNvPr id="52" name="Oval 51">
              <a:extLst>
                <a:ext uri="{FF2B5EF4-FFF2-40B4-BE49-F238E27FC236}">
                  <a16:creationId xmlns:a16="http://schemas.microsoft.com/office/drawing/2014/main" id="{E7C95782-60C6-4D77-8AA5-544E6F1450B3}"/>
                </a:ext>
              </a:extLst>
            </p:cNvPr>
            <p:cNvSpPr/>
            <p:nvPr/>
          </p:nvSpPr>
          <p:spPr>
            <a:xfrm>
              <a:off x="9985942" y="5024788"/>
              <a:ext cx="1044897" cy="1044897"/>
            </a:xfrm>
            <a:prstGeom prst="ellipse">
              <a:avLst/>
            </a:prstGeom>
            <a:solidFill>
              <a:schemeClr val="accent3"/>
            </a:solidFill>
            <a:ln w="88900">
              <a:solidFill>
                <a:schemeClr val="accent1">
                  <a:lumMod val="75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nb-NO" sz="3200">
                  <a:solidFill>
                    <a:schemeClr val="tx1"/>
                  </a:solidFill>
                  <a:latin typeface="Microsoft JhengHei UI Light" panose="020B0304030504040204" pitchFamily="34" charset="-120"/>
                  <a:ea typeface="Microsoft JhengHei UI Light" panose="020B0304030504040204" pitchFamily="34" charset="-120"/>
                  <a:cs typeface="Arial" panose="020B0604020202020204" pitchFamily="34" charset="0"/>
                </a:rPr>
                <a:t>S</a:t>
              </a:r>
            </a:p>
          </p:txBody>
        </p:sp>
        <p:cxnSp>
          <p:nvCxnSpPr>
            <p:cNvPr id="4114" name="Straight Connector 4113">
              <a:extLst>
                <a:ext uri="{FF2B5EF4-FFF2-40B4-BE49-F238E27FC236}">
                  <a16:creationId xmlns:a16="http://schemas.microsoft.com/office/drawing/2014/main" id="{6F5E9EBA-BBBB-480F-A1E4-68C5746831AE}"/>
                </a:ext>
              </a:extLst>
            </p:cNvPr>
            <p:cNvCxnSpPr>
              <a:cxnSpLocks/>
              <a:stCxn id="52" idx="6"/>
            </p:cNvCxnSpPr>
            <p:nvPr/>
          </p:nvCxnSpPr>
          <p:spPr>
            <a:xfrm flipV="1">
              <a:off x="11030838" y="5547237"/>
              <a:ext cx="3324446" cy="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3302A48A-6FA0-4EE9-B792-F67FF125105D}"/>
                </a:ext>
              </a:extLst>
            </p:cNvPr>
            <p:cNvSpPr txBox="1"/>
            <p:nvPr/>
          </p:nvSpPr>
          <p:spPr>
            <a:xfrm>
              <a:off x="8201801" y="6233246"/>
              <a:ext cx="5391065" cy="1662210"/>
            </a:xfrm>
            <a:prstGeom prst="rect">
              <a:avLst/>
            </a:prstGeom>
            <a:noFill/>
          </p:spPr>
          <p:txBody>
            <a:bodyPr wrap="square" rtlCol="0">
              <a:spAutoFit/>
            </a:bodyPr>
            <a:lstStyle/>
            <a:p>
              <a:pPr defTabSz="228594">
                <a:defRPr/>
              </a:pPr>
              <a:r>
                <a:rPr lang="nb-NO" sz="1200">
                  <a:latin typeface="Microsoft YaHei UI Light" panose="020B0502040204020203" pitchFamily="34" charset="-122"/>
                  <a:ea typeface="Microsoft YaHei UI Light" panose="020B0502040204020203" pitchFamily="34" charset="-122"/>
                </a:rPr>
                <a:t>Innholdet godkjennes og kan tilpasses av hvert sykehus. Slik sikrer vi at pasientene får informasjon som er helt korrekt for deres behandling</a:t>
              </a:r>
            </a:p>
          </p:txBody>
        </p:sp>
        <p:sp>
          <p:nvSpPr>
            <p:cNvPr id="56" name="TextBox 55">
              <a:extLst>
                <a:ext uri="{FF2B5EF4-FFF2-40B4-BE49-F238E27FC236}">
                  <a16:creationId xmlns:a16="http://schemas.microsoft.com/office/drawing/2014/main" id="{D3AA773C-E8E7-442D-83B9-F032D703457D}"/>
                </a:ext>
              </a:extLst>
            </p:cNvPr>
            <p:cNvSpPr txBox="1"/>
            <p:nvPr/>
          </p:nvSpPr>
          <p:spPr>
            <a:xfrm>
              <a:off x="11488626" y="4810983"/>
              <a:ext cx="2116882" cy="759411"/>
            </a:xfrm>
            <a:prstGeom prst="rect">
              <a:avLst/>
            </a:prstGeom>
            <a:noFill/>
          </p:spPr>
          <p:txBody>
            <a:bodyPr wrap="none" rtlCol="0" anchor="ctr">
              <a:spAutoFit/>
            </a:bodyPr>
            <a:lstStyle/>
            <a:p>
              <a:pPr algn="ctr"/>
              <a:r>
                <a:rPr lang="nb-NO" sz="1867">
                  <a:latin typeface="Microsoft JhengHei UI Light" panose="020B0304030504040204" pitchFamily="34" charset="-120"/>
                  <a:ea typeface="Microsoft JhengHei UI Light" panose="020B0304030504040204" pitchFamily="34" charset="-120"/>
                  <a:cs typeface="Open Sans Bold" panose="020B0806030504020204" pitchFamily="34" charset="0"/>
                </a:rPr>
                <a:t>Sykehus</a:t>
              </a:r>
            </a:p>
          </p:txBody>
        </p:sp>
      </p:grpSp>
      <p:grpSp>
        <p:nvGrpSpPr>
          <p:cNvPr id="34" name="Group 33">
            <a:extLst>
              <a:ext uri="{FF2B5EF4-FFF2-40B4-BE49-F238E27FC236}">
                <a16:creationId xmlns:a16="http://schemas.microsoft.com/office/drawing/2014/main" id="{4368040A-E532-44CA-B643-1FACB15F739D}"/>
              </a:ext>
            </a:extLst>
          </p:cNvPr>
          <p:cNvGrpSpPr/>
          <p:nvPr/>
        </p:nvGrpSpPr>
        <p:grpSpPr>
          <a:xfrm>
            <a:off x="7558431" y="3122657"/>
            <a:ext cx="3515911" cy="1892198"/>
            <a:chOff x="15118833" y="6245239"/>
            <a:chExt cx="7032738" cy="3784888"/>
          </a:xfrm>
        </p:grpSpPr>
        <p:grpSp>
          <p:nvGrpSpPr>
            <p:cNvPr id="4121" name="Group 4120">
              <a:extLst>
                <a:ext uri="{FF2B5EF4-FFF2-40B4-BE49-F238E27FC236}">
                  <a16:creationId xmlns:a16="http://schemas.microsoft.com/office/drawing/2014/main" id="{545D19A7-E0FB-4649-96B3-1B0FF368AC60}"/>
                </a:ext>
              </a:extLst>
            </p:cNvPr>
            <p:cNvGrpSpPr/>
            <p:nvPr/>
          </p:nvGrpSpPr>
          <p:grpSpPr>
            <a:xfrm>
              <a:off x="15118833" y="6441181"/>
              <a:ext cx="4428278" cy="1044897"/>
              <a:chOff x="15785610" y="5384506"/>
              <a:chExt cx="4428278" cy="1044897"/>
            </a:xfrm>
          </p:grpSpPr>
          <p:sp>
            <p:nvSpPr>
              <p:cNvPr id="58" name="Oval 57">
                <a:extLst>
                  <a:ext uri="{FF2B5EF4-FFF2-40B4-BE49-F238E27FC236}">
                    <a16:creationId xmlns:a16="http://schemas.microsoft.com/office/drawing/2014/main" id="{A9FD8C52-684C-4006-B90E-7C50D5FE5012}"/>
                  </a:ext>
                </a:extLst>
              </p:cNvPr>
              <p:cNvSpPr/>
              <p:nvPr/>
            </p:nvSpPr>
            <p:spPr>
              <a:xfrm flipH="1">
                <a:off x="19168991" y="5384506"/>
                <a:ext cx="1044897" cy="1044897"/>
              </a:xfrm>
              <a:prstGeom prst="ellipse">
                <a:avLst/>
              </a:prstGeom>
              <a:solidFill>
                <a:schemeClr val="accent3"/>
              </a:solidFill>
              <a:ln w="88900">
                <a:solidFill>
                  <a:schemeClr val="accent1">
                    <a:lumMod val="75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nb-NO" sz="3200">
                    <a:solidFill>
                      <a:schemeClr val="tx1"/>
                    </a:solidFill>
                    <a:latin typeface="Microsoft JhengHei UI Light" panose="020B0304030504040204" pitchFamily="34" charset="-120"/>
                    <a:ea typeface="Microsoft JhengHei UI Light" panose="020B0304030504040204" pitchFamily="34" charset="-120"/>
                    <a:cs typeface="Arial" panose="020B0604020202020204" pitchFamily="34" charset="0"/>
                  </a:rPr>
                  <a:t>M</a:t>
                </a:r>
              </a:p>
            </p:txBody>
          </p:sp>
          <p:cxnSp>
            <p:nvCxnSpPr>
              <p:cNvPr id="59" name="Straight Connector 58">
                <a:extLst>
                  <a:ext uri="{FF2B5EF4-FFF2-40B4-BE49-F238E27FC236}">
                    <a16:creationId xmlns:a16="http://schemas.microsoft.com/office/drawing/2014/main" id="{20CB4D8F-A080-4920-AD5E-76623483DCDA}"/>
                  </a:ext>
                </a:extLst>
              </p:cNvPr>
              <p:cNvCxnSpPr>
                <a:cxnSpLocks/>
                <a:stCxn id="58" idx="6"/>
              </p:cNvCxnSpPr>
              <p:nvPr/>
            </p:nvCxnSpPr>
            <p:spPr>
              <a:xfrm flipH="1">
                <a:off x="15785610" y="5906956"/>
                <a:ext cx="3383380" cy="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6FF4159E-440B-4CC6-946C-600DB915C8AB}"/>
                </a:ext>
              </a:extLst>
            </p:cNvPr>
            <p:cNvSpPr txBox="1"/>
            <p:nvPr/>
          </p:nvSpPr>
          <p:spPr>
            <a:xfrm flipH="1">
              <a:off x="16760507" y="7629157"/>
              <a:ext cx="5391064" cy="2400970"/>
            </a:xfrm>
            <a:prstGeom prst="rect">
              <a:avLst/>
            </a:prstGeom>
            <a:noFill/>
          </p:spPr>
          <p:txBody>
            <a:bodyPr wrap="square" rtlCol="0">
              <a:spAutoFit/>
            </a:bodyPr>
            <a:lstStyle/>
            <a:p>
              <a:pPr defTabSz="228594">
                <a:defRPr/>
              </a:pPr>
              <a:r>
                <a:rPr lang="nb-NO" sz="1200">
                  <a:latin typeface="Microsoft YaHei UI Light" panose="020B0502040204020203" pitchFamily="34" charset="-122"/>
                  <a:ea typeface="Microsoft YaHei UI Light" panose="020B0502040204020203" pitchFamily="34" charset="-122"/>
                </a:rPr>
                <a:t>Relevante kurs, kliniske studier, praktisk informasjon, digitale tjenester og annet blir automatisk koblet opp mot pasientinformasjonen gjennom koblinger av metadata</a:t>
              </a:r>
            </a:p>
          </p:txBody>
        </p:sp>
        <p:sp>
          <p:nvSpPr>
            <p:cNvPr id="61" name="TextBox 60">
              <a:extLst>
                <a:ext uri="{FF2B5EF4-FFF2-40B4-BE49-F238E27FC236}">
                  <a16:creationId xmlns:a16="http://schemas.microsoft.com/office/drawing/2014/main" id="{2089913E-9FD0-4392-BB3F-F2901BE3C98C}"/>
                </a:ext>
              </a:extLst>
            </p:cNvPr>
            <p:cNvSpPr txBox="1"/>
            <p:nvPr/>
          </p:nvSpPr>
          <p:spPr>
            <a:xfrm flipH="1">
              <a:off x="15759093" y="6245239"/>
              <a:ext cx="2434317" cy="759411"/>
            </a:xfrm>
            <a:prstGeom prst="rect">
              <a:avLst/>
            </a:prstGeom>
            <a:noFill/>
          </p:spPr>
          <p:txBody>
            <a:bodyPr wrap="none" rtlCol="0" anchor="ctr">
              <a:spAutoFit/>
            </a:bodyPr>
            <a:lstStyle/>
            <a:p>
              <a:pPr algn="ctr"/>
              <a:r>
                <a:rPr lang="nb-NO" sz="1867">
                  <a:latin typeface="Microsoft JhengHei UI Light" panose="020B0304030504040204" pitchFamily="34" charset="-120"/>
                  <a:ea typeface="Microsoft JhengHei UI Light" panose="020B0304030504040204" pitchFamily="34" charset="-120"/>
                  <a:cs typeface="Open Sans Bold" panose="020B0806030504020204" pitchFamily="34" charset="0"/>
                </a:rPr>
                <a:t>Metadata</a:t>
              </a:r>
            </a:p>
          </p:txBody>
        </p:sp>
      </p:grpSp>
      <p:grpSp>
        <p:nvGrpSpPr>
          <p:cNvPr id="37" name="Group 36">
            <a:extLst>
              <a:ext uri="{FF2B5EF4-FFF2-40B4-BE49-F238E27FC236}">
                <a16:creationId xmlns:a16="http://schemas.microsoft.com/office/drawing/2014/main" id="{4CA7FCE4-399E-4060-91D9-A829DBAC3174}"/>
              </a:ext>
            </a:extLst>
          </p:cNvPr>
          <p:cNvGrpSpPr/>
          <p:nvPr/>
        </p:nvGrpSpPr>
        <p:grpSpPr>
          <a:xfrm>
            <a:off x="6436509" y="964691"/>
            <a:ext cx="4637848" cy="1608321"/>
            <a:chOff x="14900956" y="-61124"/>
            <a:chExt cx="9276892" cy="3217058"/>
          </a:xfrm>
        </p:grpSpPr>
        <p:cxnSp>
          <p:nvCxnSpPr>
            <p:cNvPr id="64" name="Straight Connector 63">
              <a:extLst>
                <a:ext uri="{FF2B5EF4-FFF2-40B4-BE49-F238E27FC236}">
                  <a16:creationId xmlns:a16="http://schemas.microsoft.com/office/drawing/2014/main" id="{08DE29F2-CBD5-4AD3-9F51-7F4928C8D5A4}"/>
                </a:ext>
              </a:extLst>
            </p:cNvPr>
            <p:cNvCxnSpPr>
              <a:cxnSpLocks/>
              <a:stCxn id="63" idx="6"/>
            </p:cNvCxnSpPr>
            <p:nvPr/>
          </p:nvCxnSpPr>
          <p:spPr>
            <a:xfrm flipH="1">
              <a:off x="16381570" y="1283366"/>
              <a:ext cx="342802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B7B07E14-002C-4633-882F-59800193924A}"/>
                </a:ext>
              </a:extLst>
            </p:cNvPr>
            <p:cNvSpPr/>
            <p:nvPr/>
          </p:nvSpPr>
          <p:spPr>
            <a:xfrm flipH="1">
              <a:off x="19809596" y="760917"/>
              <a:ext cx="1044897" cy="1044897"/>
            </a:xfrm>
            <a:prstGeom prst="ellipse">
              <a:avLst/>
            </a:prstGeom>
            <a:solidFill>
              <a:schemeClr val="accent3"/>
            </a:solidFill>
            <a:ln w="88900">
              <a:solidFill>
                <a:schemeClr val="accent1">
                  <a:lumMod val="75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nb-NO" sz="3200">
                  <a:solidFill>
                    <a:schemeClr val="tx1"/>
                  </a:solidFill>
                  <a:latin typeface="Microsoft JhengHei UI Light" panose="020B0304030504040204" pitchFamily="34" charset="-120"/>
                  <a:ea typeface="Microsoft JhengHei UI Light" panose="020B0304030504040204" pitchFamily="34" charset="-120"/>
                  <a:cs typeface="Arial" panose="020B0604020202020204" pitchFamily="34" charset="0"/>
                </a:rPr>
                <a:t>P</a:t>
              </a:r>
            </a:p>
          </p:txBody>
        </p:sp>
        <p:sp>
          <p:nvSpPr>
            <p:cNvPr id="65" name="TextBox 64">
              <a:extLst>
                <a:ext uri="{FF2B5EF4-FFF2-40B4-BE49-F238E27FC236}">
                  <a16:creationId xmlns:a16="http://schemas.microsoft.com/office/drawing/2014/main" id="{376B000C-CBBE-4C33-9156-FB671CF65D0C}"/>
                </a:ext>
              </a:extLst>
            </p:cNvPr>
            <p:cNvSpPr txBox="1"/>
            <p:nvPr/>
          </p:nvSpPr>
          <p:spPr>
            <a:xfrm flipH="1">
              <a:off x="17894032" y="1863105"/>
              <a:ext cx="6283816" cy="1292829"/>
            </a:xfrm>
            <a:prstGeom prst="rect">
              <a:avLst/>
            </a:prstGeom>
            <a:noFill/>
          </p:spPr>
          <p:txBody>
            <a:bodyPr wrap="square" lIns="91440" tIns="45720" rIns="91440" bIns="45720" rtlCol="0" anchor="t">
              <a:spAutoFit/>
            </a:bodyPr>
            <a:lstStyle/>
            <a:p>
              <a:r>
                <a:rPr lang="nb-NO" sz="1200" dirty="0">
                  <a:latin typeface="Microsoft JhengHei UI Light"/>
                  <a:ea typeface="Microsoft JhengHei UI Light"/>
                </a:rPr>
                <a:t>Database på over 1700 unike sider med tekst, bilde og video om behandlinger og undersøkelser</a:t>
              </a:r>
            </a:p>
          </p:txBody>
        </p:sp>
        <p:sp>
          <p:nvSpPr>
            <p:cNvPr id="66" name="TextBox 65">
              <a:extLst>
                <a:ext uri="{FF2B5EF4-FFF2-40B4-BE49-F238E27FC236}">
                  <a16:creationId xmlns:a16="http://schemas.microsoft.com/office/drawing/2014/main" id="{23F69321-567C-4C34-8E89-407DF4A29B13}"/>
                </a:ext>
              </a:extLst>
            </p:cNvPr>
            <p:cNvSpPr txBox="1"/>
            <p:nvPr/>
          </p:nvSpPr>
          <p:spPr>
            <a:xfrm flipH="1">
              <a:off x="14900956" y="-61124"/>
              <a:ext cx="5247883" cy="1334127"/>
            </a:xfrm>
            <a:prstGeom prst="rect">
              <a:avLst/>
            </a:prstGeom>
            <a:noFill/>
          </p:spPr>
          <p:txBody>
            <a:bodyPr wrap="none" rtlCol="0" anchor="ctr">
              <a:spAutoFit/>
            </a:bodyPr>
            <a:lstStyle/>
            <a:p>
              <a:r>
                <a:rPr lang="nb-NO" sz="1867">
                  <a:latin typeface="Microsoft JhengHei UI Light" panose="020B0304030504040204" pitchFamily="34" charset="-120"/>
                  <a:ea typeface="Microsoft JhengHei UI Light" panose="020B0304030504040204" pitchFamily="34" charset="-120"/>
                  <a:cs typeface="Open Sans Bold" panose="020B0806030504020204" pitchFamily="34" charset="0"/>
                </a:rPr>
                <a:t>Felles</a:t>
              </a:r>
            </a:p>
            <a:p>
              <a:pPr algn="ctr"/>
              <a:r>
                <a:rPr lang="nb-NO" sz="1867">
                  <a:latin typeface="Microsoft JhengHei UI Light" panose="020B0304030504040204" pitchFamily="34" charset="-120"/>
                  <a:ea typeface="Microsoft JhengHei UI Light" panose="020B0304030504040204" pitchFamily="34" charset="-120"/>
                  <a:cs typeface="Open Sans Bold" panose="020B0806030504020204" pitchFamily="34" charset="0"/>
                </a:rPr>
                <a:t>pasientinformasjon</a:t>
              </a:r>
            </a:p>
          </p:txBody>
        </p:sp>
      </p:grpSp>
      <p:sp>
        <p:nvSpPr>
          <p:cNvPr id="74" name="Title 1">
            <a:extLst>
              <a:ext uri="{FF2B5EF4-FFF2-40B4-BE49-F238E27FC236}">
                <a16:creationId xmlns:a16="http://schemas.microsoft.com/office/drawing/2014/main" id="{A760F3DA-170E-4127-9017-1AFE41FEC340}"/>
              </a:ext>
            </a:extLst>
          </p:cNvPr>
          <p:cNvSpPr txBox="1">
            <a:spLocks/>
          </p:cNvSpPr>
          <p:nvPr/>
        </p:nvSpPr>
        <p:spPr>
          <a:xfrm>
            <a:off x="557717" y="607316"/>
            <a:ext cx="5730304" cy="120814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3200" dirty="0">
                <a:solidFill>
                  <a:schemeClr val="tx1">
                    <a:lumMod val="90000"/>
                    <a:lumOff val="10000"/>
                  </a:schemeClr>
                </a:solidFill>
                <a:latin typeface="Microsoft JhengHei UI Light" panose="020B0304030504040204" pitchFamily="34" charset="-120"/>
                <a:ea typeface="Microsoft JhengHei UI Light" panose="020B0304030504040204" pitchFamily="34" charset="-120"/>
              </a:rPr>
              <a:t>Innholdet </a:t>
            </a:r>
            <a:r>
              <a:rPr lang="nb-NO" sz="3200" dirty="0">
                <a:solidFill>
                  <a:srgbClr val="0070C0"/>
                </a:solidFill>
                <a:latin typeface="Microsoft JhengHei UI Light" panose="020B0304030504040204" pitchFamily="34" charset="-120"/>
                <a:ea typeface="Microsoft JhengHei UI Light" panose="020B0304030504040204" pitchFamily="34" charset="-120"/>
              </a:rPr>
              <a:t>skrives én gang </a:t>
            </a:r>
            <a:r>
              <a:rPr lang="nb-NO" sz="3200" dirty="0">
                <a:solidFill>
                  <a:schemeClr val="tx1">
                    <a:lumMod val="90000"/>
                    <a:lumOff val="10000"/>
                  </a:schemeClr>
                </a:solidFill>
                <a:latin typeface="Microsoft JhengHei UI Light" panose="020B0304030504040204" pitchFamily="34" charset="-120"/>
                <a:ea typeface="Microsoft JhengHei UI Light" panose="020B0304030504040204" pitchFamily="34" charset="-120"/>
              </a:rPr>
              <a:t>i den nasjonale basen for </a:t>
            </a:r>
            <a:r>
              <a:rPr lang="nb-NO" sz="3200" dirty="0">
                <a:solidFill>
                  <a:schemeClr val="tx1">
                    <a:lumMod val="90000"/>
                    <a:lumOff val="10000"/>
                  </a:schemeClr>
                </a:solidFill>
                <a:latin typeface="Microsoft YaHei UI Light" panose="020B0502040204020203" pitchFamily="34" charset="-122"/>
                <a:ea typeface="Microsoft YaHei UI Light" panose="020B0502040204020203" pitchFamily="34" charset="-122"/>
              </a:rPr>
              <a:t>pasientinformasjon</a:t>
            </a:r>
            <a:endParaRPr lang="nb-NO" sz="3200" dirty="0">
              <a:solidFill>
                <a:schemeClr val="accent3"/>
              </a:solidFill>
              <a:latin typeface="Microsoft YaHei UI Light" panose="020B0502040204020203" pitchFamily="34" charset="-122"/>
              <a:ea typeface="Microsoft YaHei UI Light" panose="020B0502040204020203" pitchFamily="34" charset="-122"/>
            </a:endParaRPr>
          </a:p>
          <a:p>
            <a:endParaRPr lang="nb-NO" sz="3200" dirty="0">
              <a:solidFill>
                <a:schemeClr val="tx1">
                  <a:lumMod val="90000"/>
                  <a:lumOff val="10000"/>
                </a:schemeClr>
              </a:solidFill>
              <a:latin typeface="Microsoft JhengHei UI Light" panose="020B0304030504040204" pitchFamily="34" charset="-120"/>
              <a:ea typeface="Microsoft JhengHei UI Light" panose="020B0304030504040204" pitchFamily="34" charset="-120"/>
            </a:endParaRPr>
          </a:p>
        </p:txBody>
      </p:sp>
      <p:sp>
        <p:nvSpPr>
          <p:cNvPr id="76" name="Rectangle 75">
            <a:extLst>
              <a:ext uri="{FF2B5EF4-FFF2-40B4-BE49-F238E27FC236}">
                <a16:creationId xmlns:a16="http://schemas.microsoft.com/office/drawing/2014/main" id="{6BBCC1DD-0FDE-4211-BD74-651219DFC947}"/>
              </a:ext>
            </a:extLst>
          </p:cNvPr>
          <p:cNvSpPr/>
          <p:nvPr/>
        </p:nvSpPr>
        <p:spPr>
          <a:xfrm>
            <a:off x="-18254" y="3107301"/>
            <a:ext cx="3872059" cy="2221636"/>
          </a:xfrm>
          <a:prstGeom prst="rect">
            <a:avLst/>
          </a:prstGeom>
          <a:solidFill>
            <a:schemeClr val="bg1">
              <a:lumMod val="8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latin typeface="Microsoft JhengHei UI Light" panose="020B0304030504040204" pitchFamily="34" charset="-120"/>
              <a:ea typeface="Microsoft JhengHei UI Light" panose="020B0304030504040204" pitchFamily="34" charset="-120"/>
            </a:endParaRPr>
          </a:p>
        </p:txBody>
      </p:sp>
      <p:sp>
        <p:nvSpPr>
          <p:cNvPr id="77" name="TextBox 76">
            <a:extLst>
              <a:ext uri="{FF2B5EF4-FFF2-40B4-BE49-F238E27FC236}">
                <a16:creationId xmlns:a16="http://schemas.microsoft.com/office/drawing/2014/main" id="{00F5B6A6-E58B-4371-B785-48215136E86B}"/>
              </a:ext>
            </a:extLst>
          </p:cNvPr>
          <p:cNvSpPr txBox="1"/>
          <p:nvPr/>
        </p:nvSpPr>
        <p:spPr>
          <a:xfrm>
            <a:off x="591207" y="3390112"/>
            <a:ext cx="3110821" cy="1938992"/>
          </a:xfrm>
          <a:prstGeom prst="rect">
            <a:avLst/>
          </a:prstGeom>
          <a:noFill/>
        </p:spPr>
        <p:txBody>
          <a:bodyPr wrap="square" rtlCol="0">
            <a:spAutoFit/>
          </a:bodyPr>
          <a:lstStyle/>
          <a:p>
            <a:r>
              <a:rPr lang="nb-NO" sz="2000" dirty="0">
                <a:solidFill>
                  <a:srgbClr val="0070C0"/>
                </a:solidFill>
                <a:latin typeface="Microsoft JhengHei UI Light" panose="020B0304030504040204" pitchFamily="34" charset="-120"/>
                <a:ea typeface="Microsoft JhengHei UI Light" panose="020B0304030504040204" pitchFamily="34" charset="-120"/>
              </a:rPr>
              <a:t>Tidsbesparende, øker kvalitet, reduserer forskjeller </a:t>
            </a:r>
            <a:r>
              <a:rPr lang="nb-NO" sz="2000" dirty="0">
                <a:latin typeface="Microsoft JhengHei UI Light" panose="020B0304030504040204" pitchFamily="34" charset="-120"/>
                <a:ea typeface="Microsoft JhengHei UI Light" panose="020B0304030504040204" pitchFamily="34" charset="-120"/>
              </a:rPr>
              <a:t>i informasjon og </a:t>
            </a:r>
            <a:r>
              <a:rPr lang="nb-NO" sz="2000" dirty="0">
                <a:solidFill>
                  <a:srgbClr val="0070C0"/>
                </a:solidFill>
                <a:latin typeface="Microsoft JhengHei UI Light" panose="020B0304030504040204" pitchFamily="34" charset="-120"/>
                <a:ea typeface="Microsoft JhengHei UI Light" panose="020B0304030504040204" pitchFamily="34" charset="-120"/>
              </a:rPr>
              <a:t>øker mulighetene </a:t>
            </a:r>
            <a:r>
              <a:rPr lang="nb-NO" sz="2000" dirty="0">
                <a:latin typeface="Microsoft JhengHei UI Light" panose="020B0304030504040204" pitchFamily="34" charset="-120"/>
                <a:ea typeface="Microsoft JhengHei UI Light" panose="020B0304030504040204" pitchFamily="34" charset="-120"/>
              </a:rPr>
              <a:t>for pasientens netthelsetjeneste.</a:t>
            </a:r>
          </a:p>
        </p:txBody>
      </p:sp>
      <p:grpSp>
        <p:nvGrpSpPr>
          <p:cNvPr id="4125" name="Group 4124">
            <a:extLst>
              <a:ext uri="{FF2B5EF4-FFF2-40B4-BE49-F238E27FC236}">
                <a16:creationId xmlns:a16="http://schemas.microsoft.com/office/drawing/2014/main" id="{E34675B9-A9BD-41C8-A277-0FF4CB4549E8}"/>
              </a:ext>
            </a:extLst>
          </p:cNvPr>
          <p:cNvGrpSpPr/>
          <p:nvPr/>
        </p:nvGrpSpPr>
        <p:grpSpPr>
          <a:xfrm>
            <a:off x="6924725" y="5476671"/>
            <a:ext cx="880268" cy="1169140"/>
            <a:chOff x="13852205" y="10953875"/>
            <a:chExt cx="1760764" cy="2338584"/>
          </a:xfrm>
        </p:grpSpPr>
        <p:sp>
          <p:nvSpPr>
            <p:cNvPr id="4109" name="Freeform 39">
              <a:extLst>
                <a:ext uri="{FF2B5EF4-FFF2-40B4-BE49-F238E27FC236}">
                  <a16:creationId xmlns:a16="http://schemas.microsoft.com/office/drawing/2014/main" id="{410C1A78-FF2A-43B7-8868-D521EFAC76A6}"/>
                </a:ext>
              </a:extLst>
            </p:cNvPr>
            <p:cNvSpPr>
              <a:spLocks/>
            </p:cNvSpPr>
            <p:nvPr/>
          </p:nvSpPr>
          <p:spPr bwMode="auto">
            <a:xfrm>
              <a:off x="13852205" y="10953875"/>
              <a:ext cx="1760764" cy="2338584"/>
            </a:xfrm>
            <a:custGeom>
              <a:avLst/>
              <a:gdLst>
                <a:gd name="T0" fmla="*/ 110 w 220"/>
                <a:gd name="T1" fmla="*/ 40 h 294"/>
                <a:gd name="T2" fmla="*/ 71 w 220"/>
                <a:gd name="T3" fmla="*/ 0 h 294"/>
                <a:gd name="T4" fmla="*/ 31 w 220"/>
                <a:gd name="T5" fmla="*/ 40 h 294"/>
                <a:gd name="T6" fmla="*/ 0 w 220"/>
                <a:gd name="T7" fmla="*/ 25 h 294"/>
                <a:gd name="T8" fmla="*/ 110 w 220"/>
                <a:gd name="T9" fmla="*/ 294 h 294"/>
                <a:gd name="T10" fmla="*/ 220 w 220"/>
                <a:gd name="T11" fmla="*/ 25 h 294"/>
                <a:gd name="T12" fmla="*/ 189 w 220"/>
                <a:gd name="T13" fmla="*/ 40 h 294"/>
                <a:gd name="T14" fmla="*/ 150 w 220"/>
                <a:gd name="T15" fmla="*/ 0 h 294"/>
                <a:gd name="T16" fmla="*/ 110 w 220"/>
                <a:gd name="T17" fmla="*/ 4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294">
                  <a:moveTo>
                    <a:pt x="110" y="40"/>
                  </a:moveTo>
                  <a:cubicBezTo>
                    <a:pt x="88" y="40"/>
                    <a:pt x="71" y="22"/>
                    <a:pt x="71" y="0"/>
                  </a:cubicBezTo>
                  <a:cubicBezTo>
                    <a:pt x="71" y="22"/>
                    <a:pt x="53" y="40"/>
                    <a:pt x="31" y="40"/>
                  </a:cubicBezTo>
                  <a:cubicBezTo>
                    <a:pt x="19" y="40"/>
                    <a:pt x="7" y="34"/>
                    <a:pt x="0" y="25"/>
                  </a:cubicBezTo>
                  <a:cubicBezTo>
                    <a:pt x="110" y="294"/>
                    <a:pt x="110" y="294"/>
                    <a:pt x="110" y="294"/>
                  </a:cubicBezTo>
                  <a:cubicBezTo>
                    <a:pt x="220" y="25"/>
                    <a:pt x="220" y="25"/>
                    <a:pt x="220" y="25"/>
                  </a:cubicBezTo>
                  <a:cubicBezTo>
                    <a:pt x="213" y="34"/>
                    <a:pt x="202" y="40"/>
                    <a:pt x="189" y="40"/>
                  </a:cubicBezTo>
                  <a:cubicBezTo>
                    <a:pt x="167" y="40"/>
                    <a:pt x="150" y="22"/>
                    <a:pt x="150" y="0"/>
                  </a:cubicBezTo>
                  <a:cubicBezTo>
                    <a:pt x="150" y="22"/>
                    <a:pt x="132" y="40"/>
                    <a:pt x="110" y="40"/>
                  </a:cubicBezTo>
                  <a:close/>
                </a:path>
              </a:pathLst>
            </a:custGeom>
            <a:gradFill>
              <a:gsLst>
                <a:gs pos="100000">
                  <a:srgbClr val="A17859"/>
                </a:gs>
                <a:gs pos="48000">
                  <a:srgbClr val="E7C8B1"/>
                </a:gs>
              </a:gsLst>
              <a:path path="rect">
                <a:fillToRect t="100000" r="100000"/>
              </a:path>
            </a:gradFill>
            <a:ln>
              <a:noFill/>
            </a:ln>
          </p:spPr>
          <p:txBody>
            <a:bodyPr vert="horz" wrap="square" lIns="45715" tIns="22857" rIns="45715" bIns="22857" numCol="1" anchor="t" anchorCtr="0" compatLnSpc="1">
              <a:prstTxWarp prst="textNoShape">
                <a:avLst/>
              </a:prstTxWarp>
            </a:bodyPr>
            <a:lstStyle/>
            <a:p>
              <a:endParaRPr lang="nb-NO" sz="900">
                <a:latin typeface="Microsoft JhengHei UI Light" panose="020B0304030504040204" pitchFamily="34" charset="-120"/>
                <a:ea typeface="Microsoft JhengHei UI Light" panose="020B0304030504040204" pitchFamily="34" charset="-120"/>
              </a:endParaRPr>
            </a:p>
          </p:txBody>
        </p:sp>
        <p:sp>
          <p:nvSpPr>
            <p:cNvPr id="47" name="Freeform 17">
              <a:extLst>
                <a:ext uri="{FF2B5EF4-FFF2-40B4-BE49-F238E27FC236}">
                  <a16:creationId xmlns:a16="http://schemas.microsoft.com/office/drawing/2014/main" id="{CAD39C38-4514-4502-B580-977CB678D3B1}"/>
                </a:ext>
              </a:extLst>
            </p:cNvPr>
            <p:cNvSpPr>
              <a:spLocks/>
            </p:cNvSpPr>
            <p:nvPr/>
          </p:nvSpPr>
          <p:spPr bwMode="auto">
            <a:xfrm rot="16200000">
              <a:off x="14419919" y="12722532"/>
              <a:ext cx="625337" cy="514516"/>
            </a:xfrm>
            <a:custGeom>
              <a:avLst/>
              <a:gdLst>
                <a:gd name="T0" fmla="*/ 0 w 158"/>
                <a:gd name="T1" fmla="*/ 65 h 130"/>
                <a:gd name="T2" fmla="*/ 158 w 158"/>
                <a:gd name="T3" fmla="*/ 0 h 130"/>
                <a:gd name="T4" fmla="*/ 158 w 158"/>
                <a:gd name="T5" fmla="*/ 130 h 130"/>
                <a:gd name="T6" fmla="*/ 0 w 158"/>
                <a:gd name="T7" fmla="*/ 65 h 130"/>
              </a:gdLst>
              <a:ahLst/>
              <a:cxnLst>
                <a:cxn ang="0">
                  <a:pos x="T0" y="T1"/>
                </a:cxn>
                <a:cxn ang="0">
                  <a:pos x="T2" y="T3"/>
                </a:cxn>
                <a:cxn ang="0">
                  <a:pos x="T4" y="T5"/>
                </a:cxn>
                <a:cxn ang="0">
                  <a:pos x="T6" y="T7"/>
                </a:cxn>
              </a:cxnLst>
              <a:rect l="0" t="0" r="r" b="b"/>
              <a:pathLst>
                <a:path w="158" h="130">
                  <a:moveTo>
                    <a:pt x="0" y="65"/>
                  </a:moveTo>
                  <a:lnTo>
                    <a:pt x="158" y="0"/>
                  </a:lnTo>
                  <a:lnTo>
                    <a:pt x="158" y="130"/>
                  </a:lnTo>
                  <a:lnTo>
                    <a:pt x="0" y="65"/>
                  </a:lnTo>
                  <a:close/>
                </a:path>
              </a:pathLst>
            </a:custGeom>
            <a:gradFill flip="none" rotWithShape="1">
              <a:gsLst>
                <a:gs pos="45000">
                  <a:srgbClr val="272E3A"/>
                </a:gs>
                <a:gs pos="100000">
                  <a:srgbClr val="4D5B73"/>
                </a:gs>
              </a:gsLst>
              <a:path path="rect">
                <a:fillToRect t="100000" r="100000"/>
              </a:path>
              <a:tileRect l="-100000" b="-100000"/>
            </a:gradFill>
            <a:ln>
              <a:noFill/>
            </a:ln>
          </p:spPr>
          <p:txBody>
            <a:bodyPr vert="horz" wrap="square" lIns="45715" tIns="22857" rIns="45715" bIns="22857" numCol="1" anchor="t" anchorCtr="0" compatLnSpc="1">
              <a:prstTxWarp prst="textNoShape">
                <a:avLst/>
              </a:prstTxWarp>
            </a:bodyPr>
            <a:lstStyle/>
            <a:p>
              <a:endParaRPr lang="nb-NO" sz="900">
                <a:latin typeface="Microsoft JhengHei UI Light" panose="020B0304030504040204" pitchFamily="34" charset="-120"/>
                <a:ea typeface="Microsoft JhengHei UI Light" panose="020B0304030504040204" pitchFamily="34" charset="-120"/>
              </a:endParaRPr>
            </a:p>
          </p:txBody>
        </p:sp>
      </p:grpSp>
    </p:spTree>
    <p:extLst>
      <p:ext uri="{BB962C8B-B14F-4D97-AF65-F5344CB8AC3E}">
        <p14:creationId xmlns:p14="http://schemas.microsoft.com/office/powerpoint/2010/main" val="25836925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125"/>
                                            </p:tgtEl>
                                            <p:attrNameLst>
                                              <p:attrName>style.visibility</p:attrName>
                                            </p:attrNameLst>
                                          </p:cBhvr>
                                          <p:to>
                                            <p:strVal val="visible"/>
                                          </p:to>
                                        </p:set>
                                        <p:anim calcmode="lin" valueType="num">
                                          <p:cBhvr additive="base">
                                            <p:cTn id="7" dur="500" fill="hold"/>
                                            <p:tgtEl>
                                              <p:spTgt spid="4125"/>
                                            </p:tgtEl>
                                            <p:attrNameLst>
                                              <p:attrName>ppt_x</p:attrName>
                                            </p:attrNameLst>
                                          </p:cBhvr>
                                          <p:tavLst>
                                            <p:tav tm="0">
                                              <p:val>
                                                <p:strVal val="#ppt_x"/>
                                              </p:val>
                                            </p:tav>
                                            <p:tav tm="100000">
                                              <p:val>
                                                <p:strVal val="#ppt_x"/>
                                              </p:val>
                                            </p:tav>
                                          </p:tavLst>
                                        </p:anim>
                                        <p:anim calcmode="lin" valueType="num">
                                          <p:cBhvr additive="base">
                                            <p:cTn id="8" dur="500" fill="hold"/>
                                            <p:tgtEl>
                                              <p:spTgt spid="412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14:presetBounceEnd="73333">
                                      <p:stCondLst>
                                        <p:cond delay="500"/>
                                      </p:stCondLst>
                                      <p:childTnLst>
                                        <p:set>
                                          <p:cBhvr>
                                            <p:cTn id="10" dur="1" fill="hold">
                                              <p:stCondLst>
                                                <p:cond delay="0"/>
                                              </p:stCondLst>
                                            </p:cTn>
                                            <p:tgtEl>
                                              <p:spTgt spid="4112"/>
                                            </p:tgtEl>
                                            <p:attrNameLst>
                                              <p:attrName>style.visibility</p:attrName>
                                            </p:attrNameLst>
                                          </p:cBhvr>
                                          <p:to>
                                            <p:strVal val="visible"/>
                                          </p:to>
                                        </p:set>
                                        <p:anim calcmode="lin" valueType="num" p14:bounceEnd="73333">
                                          <p:cBhvr additive="base">
                                            <p:cTn id="11" dur="1500" fill="hold"/>
                                            <p:tgtEl>
                                              <p:spTgt spid="4112"/>
                                            </p:tgtEl>
                                            <p:attrNameLst>
                                              <p:attrName>ppt_x</p:attrName>
                                            </p:attrNameLst>
                                          </p:cBhvr>
                                          <p:tavLst>
                                            <p:tav tm="0">
                                              <p:val>
                                                <p:strVal val="#ppt_x"/>
                                              </p:val>
                                            </p:tav>
                                            <p:tav tm="100000">
                                              <p:val>
                                                <p:strVal val="#ppt_x"/>
                                              </p:val>
                                            </p:tav>
                                          </p:tavLst>
                                        </p:anim>
                                        <p:anim calcmode="lin" valueType="num" p14:bounceEnd="73333">
                                          <p:cBhvr additive="base">
                                            <p:cTn id="12" dur="1500" fill="hold"/>
                                            <p:tgtEl>
                                              <p:spTgt spid="41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14:presetBounceEnd="73333">
                                      <p:stCondLst>
                                        <p:cond delay="600"/>
                                      </p:stCondLst>
                                      <p:childTnLst>
                                        <p:set>
                                          <p:cBhvr>
                                            <p:cTn id="14" dur="1" fill="hold">
                                              <p:stCondLst>
                                                <p:cond delay="0"/>
                                              </p:stCondLst>
                                            </p:cTn>
                                            <p:tgtEl>
                                              <p:spTgt spid="50"/>
                                            </p:tgtEl>
                                            <p:attrNameLst>
                                              <p:attrName>style.visibility</p:attrName>
                                            </p:attrNameLst>
                                          </p:cBhvr>
                                          <p:to>
                                            <p:strVal val="visible"/>
                                          </p:to>
                                        </p:set>
                                        <p:anim calcmode="lin" valueType="num" p14:bounceEnd="73333">
                                          <p:cBhvr additive="base">
                                            <p:cTn id="15" dur="1500" fill="hold"/>
                                            <p:tgtEl>
                                              <p:spTgt spid="50"/>
                                            </p:tgtEl>
                                            <p:attrNameLst>
                                              <p:attrName>ppt_x</p:attrName>
                                            </p:attrNameLst>
                                          </p:cBhvr>
                                          <p:tavLst>
                                            <p:tav tm="0">
                                              <p:val>
                                                <p:strVal val="#ppt_x"/>
                                              </p:val>
                                            </p:tav>
                                            <p:tav tm="100000">
                                              <p:val>
                                                <p:strVal val="#ppt_x"/>
                                              </p:val>
                                            </p:tav>
                                          </p:tavLst>
                                        </p:anim>
                                        <p:anim calcmode="lin" valueType="num" p14:bounceEnd="73333">
                                          <p:cBhvr additive="base">
                                            <p:cTn id="16" dur="1500" fill="hold"/>
                                            <p:tgtEl>
                                              <p:spTgt spid="5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14:presetBounceEnd="73333">
                                      <p:stCondLst>
                                        <p:cond delay="750"/>
                                      </p:stCondLst>
                                      <p:childTnLst>
                                        <p:set>
                                          <p:cBhvr>
                                            <p:cTn id="18" dur="1" fill="hold">
                                              <p:stCondLst>
                                                <p:cond delay="0"/>
                                              </p:stCondLst>
                                            </p:cTn>
                                            <p:tgtEl>
                                              <p:spTgt spid="51"/>
                                            </p:tgtEl>
                                            <p:attrNameLst>
                                              <p:attrName>style.visibility</p:attrName>
                                            </p:attrNameLst>
                                          </p:cBhvr>
                                          <p:to>
                                            <p:strVal val="visible"/>
                                          </p:to>
                                        </p:set>
                                        <p:anim calcmode="lin" valueType="num" p14:bounceEnd="73333">
                                          <p:cBhvr additive="base">
                                            <p:cTn id="19" dur="1500" fill="hold"/>
                                            <p:tgtEl>
                                              <p:spTgt spid="51"/>
                                            </p:tgtEl>
                                            <p:attrNameLst>
                                              <p:attrName>ppt_x</p:attrName>
                                            </p:attrNameLst>
                                          </p:cBhvr>
                                          <p:tavLst>
                                            <p:tav tm="0">
                                              <p:val>
                                                <p:strVal val="#ppt_x"/>
                                              </p:val>
                                            </p:tav>
                                            <p:tav tm="100000">
                                              <p:val>
                                                <p:strVal val="#ppt_x"/>
                                              </p:val>
                                            </p:tav>
                                          </p:tavLst>
                                        </p:anim>
                                        <p:anim calcmode="lin" valueType="num" p14:bounceEnd="73333">
                                          <p:cBhvr additive="base">
                                            <p:cTn id="20" dur="1500" fill="hold"/>
                                            <p:tgtEl>
                                              <p:spTgt spid="51"/>
                                            </p:tgtEl>
                                            <p:attrNameLst>
                                              <p:attrName>ppt_y</p:attrName>
                                            </p:attrNameLst>
                                          </p:cBhvr>
                                          <p:tavLst>
                                            <p:tav tm="0">
                                              <p:val>
                                                <p:strVal val="1+#ppt_h/2"/>
                                              </p:val>
                                            </p:tav>
                                            <p:tav tm="100000">
                                              <p:val>
                                                <p:strVal val="#ppt_y"/>
                                              </p:val>
                                            </p:tav>
                                          </p:tavLst>
                                        </p:anim>
                                      </p:childTnLst>
                                    </p:cTn>
                                  </p:par>
                                  <p:par>
                                    <p:cTn id="21" presetID="10" presetClass="entr" presetSubtype="0" fill="hold" nodeType="withEffect">
                                      <p:stCondLst>
                                        <p:cond delay="1250"/>
                                      </p:stCondLst>
                                      <p:childTnLst>
                                        <p:set>
                                          <p:cBhvr>
                                            <p:cTn id="22" dur="1" fill="hold">
                                              <p:stCondLst>
                                                <p:cond delay="0"/>
                                              </p:stCondLst>
                                            </p:cTn>
                                            <p:tgtEl>
                                              <p:spTgt spid="4126"/>
                                            </p:tgtEl>
                                            <p:attrNameLst>
                                              <p:attrName>style.visibility</p:attrName>
                                            </p:attrNameLst>
                                          </p:cBhvr>
                                          <p:to>
                                            <p:strVal val="visible"/>
                                          </p:to>
                                        </p:set>
                                        <p:animEffect transition="in" filter="fade">
                                          <p:cBhvr>
                                            <p:cTn id="23" dur="500"/>
                                            <p:tgtEl>
                                              <p:spTgt spid="4126"/>
                                            </p:tgtEl>
                                          </p:cBhvr>
                                        </p:animEffect>
                                      </p:childTnLst>
                                    </p:cTn>
                                  </p:par>
                                  <p:par>
                                    <p:cTn id="24" presetID="10" presetClass="entr" presetSubtype="0" fill="hold" nodeType="withEffect">
                                      <p:stCondLst>
                                        <p:cond delay="1500"/>
                                      </p:stCondLst>
                                      <p:childTnLst>
                                        <p:set>
                                          <p:cBhvr>
                                            <p:cTn id="25" dur="1" fill="hold">
                                              <p:stCondLst>
                                                <p:cond delay="0"/>
                                              </p:stCondLst>
                                            </p:cTn>
                                            <p:tgtEl>
                                              <p:spTgt spid="37"/>
                                            </p:tgtEl>
                                            <p:attrNameLst>
                                              <p:attrName>style.visibility</p:attrName>
                                            </p:attrNameLst>
                                          </p:cBhvr>
                                          <p:to>
                                            <p:strVal val="visible"/>
                                          </p:to>
                                        </p:set>
                                        <p:animEffect transition="in" filter="fade">
                                          <p:cBhvr>
                                            <p:cTn id="26" dur="500"/>
                                            <p:tgtEl>
                                              <p:spTgt spid="37"/>
                                            </p:tgtEl>
                                          </p:cBhvr>
                                        </p:animEffect>
                                      </p:childTnLst>
                                    </p:cTn>
                                  </p:par>
                                  <p:par>
                                    <p:cTn id="27" presetID="10" presetClass="entr" presetSubtype="0" fill="hold" nodeType="withEffect">
                                      <p:stCondLst>
                                        <p:cond delay="175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4112" grpId="0" animBg="1"/>
          <p:bldP spid="5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4125"/>
                                            </p:tgtEl>
                                            <p:attrNameLst>
                                              <p:attrName>style.visibility</p:attrName>
                                            </p:attrNameLst>
                                          </p:cBhvr>
                                          <p:to>
                                            <p:strVal val="visible"/>
                                          </p:to>
                                        </p:set>
                                        <p:anim calcmode="lin" valueType="num">
                                          <p:cBhvr additive="base">
                                            <p:cTn id="7" dur="500" fill="hold"/>
                                            <p:tgtEl>
                                              <p:spTgt spid="4125"/>
                                            </p:tgtEl>
                                            <p:attrNameLst>
                                              <p:attrName>ppt_x</p:attrName>
                                            </p:attrNameLst>
                                          </p:cBhvr>
                                          <p:tavLst>
                                            <p:tav tm="0">
                                              <p:val>
                                                <p:strVal val="#ppt_x"/>
                                              </p:val>
                                            </p:tav>
                                            <p:tav tm="100000">
                                              <p:val>
                                                <p:strVal val="#ppt_x"/>
                                              </p:val>
                                            </p:tav>
                                          </p:tavLst>
                                        </p:anim>
                                        <p:anim calcmode="lin" valueType="num">
                                          <p:cBhvr additive="base">
                                            <p:cTn id="8" dur="500" fill="hold"/>
                                            <p:tgtEl>
                                              <p:spTgt spid="412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500"/>
                                      </p:stCondLst>
                                      <p:childTnLst>
                                        <p:set>
                                          <p:cBhvr>
                                            <p:cTn id="10" dur="1" fill="hold">
                                              <p:stCondLst>
                                                <p:cond delay="0"/>
                                              </p:stCondLst>
                                            </p:cTn>
                                            <p:tgtEl>
                                              <p:spTgt spid="4112"/>
                                            </p:tgtEl>
                                            <p:attrNameLst>
                                              <p:attrName>style.visibility</p:attrName>
                                            </p:attrNameLst>
                                          </p:cBhvr>
                                          <p:to>
                                            <p:strVal val="visible"/>
                                          </p:to>
                                        </p:set>
                                        <p:anim calcmode="lin" valueType="num">
                                          <p:cBhvr additive="base">
                                            <p:cTn id="11" dur="1500" fill="hold"/>
                                            <p:tgtEl>
                                              <p:spTgt spid="4112"/>
                                            </p:tgtEl>
                                            <p:attrNameLst>
                                              <p:attrName>ppt_x</p:attrName>
                                            </p:attrNameLst>
                                          </p:cBhvr>
                                          <p:tavLst>
                                            <p:tav tm="0">
                                              <p:val>
                                                <p:strVal val="#ppt_x"/>
                                              </p:val>
                                            </p:tav>
                                            <p:tav tm="100000">
                                              <p:val>
                                                <p:strVal val="#ppt_x"/>
                                              </p:val>
                                            </p:tav>
                                          </p:tavLst>
                                        </p:anim>
                                        <p:anim calcmode="lin" valueType="num">
                                          <p:cBhvr additive="base">
                                            <p:cTn id="12" dur="1500" fill="hold"/>
                                            <p:tgtEl>
                                              <p:spTgt spid="41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600"/>
                                      </p:stCondLst>
                                      <p:childTnLst>
                                        <p:set>
                                          <p:cBhvr>
                                            <p:cTn id="14" dur="1" fill="hold">
                                              <p:stCondLst>
                                                <p:cond delay="0"/>
                                              </p:stCondLst>
                                            </p:cTn>
                                            <p:tgtEl>
                                              <p:spTgt spid="50"/>
                                            </p:tgtEl>
                                            <p:attrNameLst>
                                              <p:attrName>style.visibility</p:attrName>
                                            </p:attrNameLst>
                                          </p:cBhvr>
                                          <p:to>
                                            <p:strVal val="visible"/>
                                          </p:to>
                                        </p:set>
                                        <p:anim calcmode="lin" valueType="num">
                                          <p:cBhvr additive="base">
                                            <p:cTn id="15" dur="1500" fill="hold"/>
                                            <p:tgtEl>
                                              <p:spTgt spid="50"/>
                                            </p:tgtEl>
                                            <p:attrNameLst>
                                              <p:attrName>ppt_x</p:attrName>
                                            </p:attrNameLst>
                                          </p:cBhvr>
                                          <p:tavLst>
                                            <p:tav tm="0">
                                              <p:val>
                                                <p:strVal val="#ppt_x"/>
                                              </p:val>
                                            </p:tav>
                                            <p:tav tm="100000">
                                              <p:val>
                                                <p:strVal val="#ppt_x"/>
                                              </p:val>
                                            </p:tav>
                                          </p:tavLst>
                                        </p:anim>
                                        <p:anim calcmode="lin" valueType="num">
                                          <p:cBhvr additive="base">
                                            <p:cTn id="16" dur="1500" fill="hold"/>
                                            <p:tgtEl>
                                              <p:spTgt spid="50"/>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750"/>
                                      </p:stCondLst>
                                      <p:childTnLst>
                                        <p:set>
                                          <p:cBhvr>
                                            <p:cTn id="18" dur="1" fill="hold">
                                              <p:stCondLst>
                                                <p:cond delay="0"/>
                                              </p:stCondLst>
                                            </p:cTn>
                                            <p:tgtEl>
                                              <p:spTgt spid="51"/>
                                            </p:tgtEl>
                                            <p:attrNameLst>
                                              <p:attrName>style.visibility</p:attrName>
                                            </p:attrNameLst>
                                          </p:cBhvr>
                                          <p:to>
                                            <p:strVal val="visible"/>
                                          </p:to>
                                        </p:set>
                                        <p:anim calcmode="lin" valueType="num">
                                          <p:cBhvr additive="base">
                                            <p:cTn id="19" dur="1500" fill="hold"/>
                                            <p:tgtEl>
                                              <p:spTgt spid="51"/>
                                            </p:tgtEl>
                                            <p:attrNameLst>
                                              <p:attrName>ppt_x</p:attrName>
                                            </p:attrNameLst>
                                          </p:cBhvr>
                                          <p:tavLst>
                                            <p:tav tm="0">
                                              <p:val>
                                                <p:strVal val="#ppt_x"/>
                                              </p:val>
                                            </p:tav>
                                            <p:tav tm="100000">
                                              <p:val>
                                                <p:strVal val="#ppt_x"/>
                                              </p:val>
                                            </p:tav>
                                          </p:tavLst>
                                        </p:anim>
                                        <p:anim calcmode="lin" valueType="num">
                                          <p:cBhvr additive="base">
                                            <p:cTn id="20" dur="1500" fill="hold"/>
                                            <p:tgtEl>
                                              <p:spTgt spid="51"/>
                                            </p:tgtEl>
                                            <p:attrNameLst>
                                              <p:attrName>ppt_y</p:attrName>
                                            </p:attrNameLst>
                                          </p:cBhvr>
                                          <p:tavLst>
                                            <p:tav tm="0">
                                              <p:val>
                                                <p:strVal val="1+#ppt_h/2"/>
                                              </p:val>
                                            </p:tav>
                                            <p:tav tm="100000">
                                              <p:val>
                                                <p:strVal val="#ppt_y"/>
                                              </p:val>
                                            </p:tav>
                                          </p:tavLst>
                                        </p:anim>
                                      </p:childTnLst>
                                    </p:cTn>
                                  </p:par>
                                  <p:par>
                                    <p:cTn id="21" presetID="10" presetClass="entr" presetSubtype="0" fill="hold" nodeType="withEffect">
                                      <p:stCondLst>
                                        <p:cond delay="1250"/>
                                      </p:stCondLst>
                                      <p:childTnLst>
                                        <p:set>
                                          <p:cBhvr>
                                            <p:cTn id="22" dur="1" fill="hold">
                                              <p:stCondLst>
                                                <p:cond delay="0"/>
                                              </p:stCondLst>
                                            </p:cTn>
                                            <p:tgtEl>
                                              <p:spTgt spid="4126"/>
                                            </p:tgtEl>
                                            <p:attrNameLst>
                                              <p:attrName>style.visibility</p:attrName>
                                            </p:attrNameLst>
                                          </p:cBhvr>
                                          <p:to>
                                            <p:strVal val="visible"/>
                                          </p:to>
                                        </p:set>
                                        <p:animEffect transition="in" filter="fade">
                                          <p:cBhvr>
                                            <p:cTn id="23" dur="500"/>
                                            <p:tgtEl>
                                              <p:spTgt spid="4126"/>
                                            </p:tgtEl>
                                          </p:cBhvr>
                                        </p:animEffect>
                                      </p:childTnLst>
                                    </p:cTn>
                                  </p:par>
                                  <p:par>
                                    <p:cTn id="24" presetID="10" presetClass="entr" presetSubtype="0" fill="hold" nodeType="withEffect">
                                      <p:stCondLst>
                                        <p:cond delay="1500"/>
                                      </p:stCondLst>
                                      <p:childTnLst>
                                        <p:set>
                                          <p:cBhvr>
                                            <p:cTn id="25" dur="1" fill="hold">
                                              <p:stCondLst>
                                                <p:cond delay="0"/>
                                              </p:stCondLst>
                                            </p:cTn>
                                            <p:tgtEl>
                                              <p:spTgt spid="37"/>
                                            </p:tgtEl>
                                            <p:attrNameLst>
                                              <p:attrName>style.visibility</p:attrName>
                                            </p:attrNameLst>
                                          </p:cBhvr>
                                          <p:to>
                                            <p:strVal val="visible"/>
                                          </p:to>
                                        </p:set>
                                        <p:animEffect transition="in" filter="fade">
                                          <p:cBhvr>
                                            <p:cTn id="26" dur="500"/>
                                            <p:tgtEl>
                                              <p:spTgt spid="37"/>
                                            </p:tgtEl>
                                          </p:cBhvr>
                                        </p:animEffect>
                                      </p:childTnLst>
                                    </p:cTn>
                                  </p:par>
                                  <p:par>
                                    <p:cTn id="27" presetID="10" presetClass="entr" presetSubtype="0" fill="hold" nodeType="withEffect">
                                      <p:stCondLst>
                                        <p:cond delay="175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4112" grpId="0" animBg="1"/>
          <p:bldP spid="50" grpId="0" animBg="1"/>
        </p:bld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txBox="1">
            <a:spLocks/>
          </p:cNvSpPr>
          <p:nvPr/>
        </p:nvSpPr>
        <p:spPr>
          <a:xfrm>
            <a:off x="506286" y="2593684"/>
            <a:ext cx="4215209" cy="126878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a:r>
              <a:rPr lang="nb-NO" sz="3200">
                <a:solidFill>
                  <a:schemeClr val="tx1">
                    <a:lumMod val="90000"/>
                    <a:lumOff val="10000"/>
                  </a:schemeClr>
                </a:solidFill>
                <a:latin typeface="Microsoft JhengHei UI Light" panose="020B0304030504040204" pitchFamily="34" charset="-120"/>
                <a:ea typeface="Microsoft JhengHei UI Light" panose="020B0304030504040204" pitchFamily="34" charset="-120"/>
              </a:rPr>
              <a:t>Innholdet revideres fortløpende</a:t>
            </a:r>
          </a:p>
          <a:p>
            <a:pPr algn="r"/>
            <a:endParaRPr lang="nb-NO" sz="1600">
              <a:solidFill>
                <a:schemeClr val="tx1">
                  <a:lumMod val="90000"/>
                  <a:lumOff val="10000"/>
                </a:schemeClr>
              </a:solidFill>
              <a:latin typeface="Microsoft JhengHei UI Light" panose="020B0304030504040204" pitchFamily="34" charset="-120"/>
              <a:ea typeface="Microsoft JhengHei UI Light" panose="020B0304030504040204" pitchFamily="34" charset="-120"/>
            </a:endParaRPr>
          </a:p>
          <a:p>
            <a:pPr algn="r"/>
            <a:r>
              <a:rPr lang="nb-NO" sz="1600">
                <a:solidFill>
                  <a:schemeClr val="tx1">
                    <a:lumMod val="90000"/>
                    <a:lumOff val="10000"/>
                  </a:schemeClr>
                </a:solidFill>
                <a:latin typeface="Microsoft JhengHei UI Light" panose="020B0304030504040204" pitchFamily="34" charset="-120"/>
                <a:ea typeface="Microsoft JhengHei UI Light" panose="020B0304030504040204" pitchFamily="34" charset="-120"/>
              </a:rPr>
              <a:t>Prosesser ved endring og faste revideringssykluser sikrer at </a:t>
            </a:r>
            <a:r>
              <a:rPr lang="nb-NO" sz="1600">
                <a:solidFill>
                  <a:srgbClr val="0070C0"/>
                </a:solidFill>
                <a:latin typeface="Microsoft JhengHei UI Light" panose="020B0304030504040204" pitchFamily="34" charset="-120"/>
                <a:ea typeface="Microsoft JhengHei UI Light" panose="020B0304030504040204" pitchFamily="34" charset="-120"/>
              </a:rPr>
              <a:t>innholdet er oppdatert, faglig korrekt og i klart språk</a:t>
            </a:r>
          </a:p>
          <a:p>
            <a:pPr algn="r"/>
            <a:endParaRPr lang="nb-NO" sz="3200">
              <a:solidFill>
                <a:schemeClr val="tx1">
                  <a:lumMod val="90000"/>
                  <a:lumOff val="10000"/>
                </a:schemeClr>
              </a:solidFill>
              <a:latin typeface="Microsoft JhengHei UI Light" panose="020B0304030504040204" pitchFamily="34" charset="-120"/>
              <a:ea typeface="Microsoft JhengHei UI Light" panose="020B0304030504040204" pitchFamily="34" charset="-120"/>
            </a:endParaRPr>
          </a:p>
        </p:txBody>
      </p:sp>
      <p:grpSp>
        <p:nvGrpSpPr>
          <p:cNvPr id="19" name="Group 18"/>
          <p:cNvGrpSpPr/>
          <p:nvPr/>
        </p:nvGrpSpPr>
        <p:grpSpPr>
          <a:xfrm rot="18765986" flipH="1" flipV="1">
            <a:off x="9694050" y="3990081"/>
            <a:ext cx="1904727" cy="1502083"/>
            <a:chOff x="5443538" y="2841625"/>
            <a:chExt cx="1304925" cy="781050"/>
          </a:xfrm>
        </p:grpSpPr>
        <p:sp>
          <p:nvSpPr>
            <p:cNvPr id="20" name="Freeform 5"/>
            <p:cNvSpPr>
              <a:spLocks/>
            </p:cNvSpPr>
            <p:nvPr/>
          </p:nvSpPr>
          <p:spPr bwMode="auto">
            <a:xfrm>
              <a:off x="5443538" y="3232150"/>
              <a:ext cx="1304925" cy="390525"/>
            </a:xfrm>
            <a:custGeom>
              <a:avLst/>
              <a:gdLst>
                <a:gd name="T0" fmla="*/ 203 w 406"/>
                <a:gd name="T1" fmla="*/ 32 h 119"/>
                <a:gd name="T2" fmla="*/ 406 w 406"/>
                <a:gd name="T3" fmla="*/ 119 h 119"/>
                <a:gd name="T4" fmla="*/ 406 w 406"/>
                <a:gd name="T5" fmla="*/ 0 h 119"/>
                <a:gd name="T6" fmla="*/ 0 w 406"/>
                <a:gd name="T7" fmla="*/ 0 h 119"/>
                <a:gd name="T8" fmla="*/ 0 w 406"/>
                <a:gd name="T9" fmla="*/ 119 h 119"/>
                <a:gd name="T10" fmla="*/ 203 w 406"/>
                <a:gd name="T11" fmla="*/ 32 h 119"/>
              </a:gdLst>
              <a:ahLst/>
              <a:cxnLst>
                <a:cxn ang="0">
                  <a:pos x="T0" y="T1"/>
                </a:cxn>
                <a:cxn ang="0">
                  <a:pos x="T2" y="T3"/>
                </a:cxn>
                <a:cxn ang="0">
                  <a:pos x="T4" y="T5"/>
                </a:cxn>
                <a:cxn ang="0">
                  <a:pos x="T6" y="T7"/>
                </a:cxn>
                <a:cxn ang="0">
                  <a:pos x="T8" y="T9"/>
                </a:cxn>
                <a:cxn ang="0">
                  <a:pos x="T10" y="T11"/>
                </a:cxn>
              </a:cxnLst>
              <a:rect l="0" t="0" r="r" b="b"/>
              <a:pathLst>
                <a:path w="406" h="119">
                  <a:moveTo>
                    <a:pt x="203" y="32"/>
                  </a:moveTo>
                  <a:cubicBezTo>
                    <a:pt x="287" y="32"/>
                    <a:pt x="362" y="66"/>
                    <a:pt x="406" y="119"/>
                  </a:cubicBezTo>
                  <a:cubicBezTo>
                    <a:pt x="406" y="0"/>
                    <a:pt x="406" y="0"/>
                    <a:pt x="406" y="0"/>
                  </a:cubicBezTo>
                  <a:cubicBezTo>
                    <a:pt x="0" y="0"/>
                    <a:pt x="0" y="0"/>
                    <a:pt x="0" y="0"/>
                  </a:cubicBezTo>
                  <a:cubicBezTo>
                    <a:pt x="0" y="119"/>
                    <a:pt x="0" y="119"/>
                    <a:pt x="0" y="119"/>
                  </a:cubicBezTo>
                  <a:cubicBezTo>
                    <a:pt x="45" y="66"/>
                    <a:pt x="119" y="32"/>
                    <a:pt x="203" y="32"/>
                  </a:cubicBezTo>
                  <a:close/>
                </a:path>
              </a:pathLst>
            </a:custGeom>
            <a:solidFill>
              <a:schemeClr val="accent3"/>
            </a:solidFill>
            <a:ln>
              <a:noFill/>
            </a:ln>
          </p:spPr>
          <p:txBody>
            <a:bodyPr vert="horz" wrap="square" lIns="91428" tIns="45715" rIns="91428" bIns="45715" numCol="1" anchor="t" anchorCtr="0" compatLnSpc="1">
              <a:prstTxWarp prst="textNoShape">
                <a:avLst/>
              </a:prstTxWarp>
            </a:bodyPr>
            <a:lstStyle/>
            <a:p>
              <a:endParaRPr lang="nb-NO" sz="1800">
                <a:latin typeface="Microsoft JhengHei UI Light" panose="020B0304030504040204" pitchFamily="34" charset="-120"/>
                <a:ea typeface="Microsoft JhengHei UI Light" panose="020B0304030504040204" pitchFamily="34" charset="-120"/>
              </a:endParaRPr>
            </a:p>
          </p:txBody>
        </p:sp>
        <p:sp>
          <p:nvSpPr>
            <p:cNvPr id="21" name="Freeform 5"/>
            <p:cNvSpPr>
              <a:spLocks/>
            </p:cNvSpPr>
            <p:nvPr/>
          </p:nvSpPr>
          <p:spPr bwMode="auto">
            <a:xfrm flipV="1">
              <a:off x="5443538" y="2841625"/>
              <a:ext cx="1304925" cy="390525"/>
            </a:xfrm>
            <a:custGeom>
              <a:avLst/>
              <a:gdLst>
                <a:gd name="T0" fmla="*/ 203 w 406"/>
                <a:gd name="T1" fmla="*/ 32 h 119"/>
                <a:gd name="T2" fmla="*/ 406 w 406"/>
                <a:gd name="T3" fmla="*/ 119 h 119"/>
                <a:gd name="T4" fmla="*/ 406 w 406"/>
                <a:gd name="T5" fmla="*/ 0 h 119"/>
                <a:gd name="T6" fmla="*/ 0 w 406"/>
                <a:gd name="T7" fmla="*/ 0 h 119"/>
                <a:gd name="T8" fmla="*/ 0 w 406"/>
                <a:gd name="T9" fmla="*/ 119 h 119"/>
                <a:gd name="T10" fmla="*/ 203 w 406"/>
                <a:gd name="T11" fmla="*/ 32 h 119"/>
              </a:gdLst>
              <a:ahLst/>
              <a:cxnLst>
                <a:cxn ang="0">
                  <a:pos x="T0" y="T1"/>
                </a:cxn>
                <a:cxn ang="0">
                  <a:pos x="T2" y="T3"/>
                </a:cxn>
                <a:cxn ang="0">
                  <a:pos x="T4" y="T5"/>
                </a:cxn>
                <a:cxn ang="0">
                  <a:pos x="T6" y="T7"/>
                </a:cxn>
                <a:cxn ang="0">
                  <a:pos x="T8" y="T9"/>
                </a:cxn>
                <a:cxn ang="0">
                  <a:pos x="T10" y="T11"/>
                </a:cxn>
              </a:cxnLst>
              <a:rect l="0" t="0" r="r" b="b"/>
              <a:pathLst>
                <a:path w="406" h="119">
                  <a:moveTo>
                    <a:pt x="203" y="32"/>
                  </a:moveTo>
                  <a:cubicBezTo>
                    <a:pt x="287" y="32"/>
                    <a:pt x="362" y="66"/>
                    <a:pt x="406" y="119"/>
                  </a:cubicBezTo>
                  <a:cubicBezTo>
                    <a:pt x="406" y="0"/>
                    <a:pt x="406" y="0"/>
                    <a:pt x="406" y="0"/>
                  </a:cubicBezTo>
                  <a:cubicBezTo>
                    <a:pt x="0" y="0"/>
                    <a:pt x="0" y="0"/>
                    <a:pt x="0" y="0"/>
                  </a:cubicBezTo>
                  <a:cubicBezTo>
                    <a:pt x="0" y="119"/>
                    <a:pt x="0" y="119"/>
                    <a:pt x="0" y="119"/>
                  </a:cubicBezTo>
                  <a:cubicBezTo>
                    <a:pt x="45" y="66"/>
                    <a:pt x="119" y="32"/>
                    <a:pt x="203" y="32"/>
                  </a:cubicBezTo>
                  <a:close/>
                </a:path>
              </a:pathLst>
            </a:custGeom>
            <a:solidFill>
              <a:schemeClr val="accent3">
                <a:lumMod val="75000"/>
              </a:schemeClr>
            </a:solidFill>
            <a:ln>
              <a:noFill/>
            </a:ln>
          </p:spPr>
          <p:txBody>
            <a:bodyPr vert="horz" wrap="square" lIns="91428" tIns="45715" rIns="91428" bIns="45715" numCol="1" anchor="t" anchorCtr="0" compatLnSpc="1">
              <a:prstTxWarp prst="textNoShape">
                <a:avLst/>
              </a:prstTxWarp>
            </a:bodyPr>
            <a:lstStyle/>
            <a:p>
              <a:endParaRPr lang="nb-NO" sz="1800">
                <a:latin typeface="Microsoft JhengHei UI Light" panose="020B0304030504040204" pitchFamily="34" charset="-120"/>
                <a:ea typeface="Microsoft JhengHei UI Light" panose="020B0304030504040204" pitchFamily="34" charset="-120"/>
              </a:endParaRPr>
            </a:p>
          </p:txBody>
        </p:sp>
      </p:grpSp>
      <p:grpSp>
        <p:nvGrpSpPr>
          <p:cNvPr id="16" name="Group 15"/>
          <p:cNvGrpSpPr/>
          <p:nvPr/>
        </p:nvGrpSpPr>
        <p:grpSpPr>
          <a:xfrm rot="2834014" flipH="1">
            <a:off x="9466071" y="1161385"/>
            <a:ext cx="1997820" cy="1535919"/>
            <a:chOff x="5443538" y="2841625"/>
            <a:chExt cx="1304925" cy="781050"/>
          </a:xfrm>
        </p:grpSpPr>
        <p:sp>
          <p:nvSpPr>
            <p:cNvPr id="17" name="Freeform 5"/>
            <p:cNvSpPr>
              <a:spLocks/>
            </p:cNvSpPr>
            <p:nvPr/>
          </p:nvSpPr>
          <p:spPr bwMode="auto">
            <a:xfrm>
              <a:off x="5443538" y="3232150"/>
              <a:ext cx="1304925" cy="390525"/>
            </a:xfrm>
            <a:custGeom>
              <a:avLst/>
              <a:gdLst>
                <a:gd name="T0" fmla="*/ 203 w 406"/>
                <a:gd name="T1" fmla="*/ 32 h 119"/>
                <a:gd name="T2" fmla="*/ 406 w 406"/>
                <a:gd name="T3" fmla="*/ 119 h 119"/>
                <a:gd name="T4" fmla="*/ 406 w 406"/>
                <a:gd name="T5" fmla="*/ 0 h 119"/>
                <a:gd name="T6" fmla="*/ 0 w 406"/>
                <a:gd name="T7" fmla="*/ 0 h 119"/>
                <a:gd name="T8" fmla="*/ 0 w 406"/>
                <a:gd name="T9" fmla="*/ 119 h 119"/>
                <a:gd name="T10" fmla="*/ 203 w 406"/>
                <a:gd name="T11" fmla="*/ 32 h 119"/>
              </a:gdLst>
              <a:ahLst/>
              <a:cxnLst>
                <a:cxn ang="0">
                  <a:pos x="T0" y="T1"/>
                </a:cxn>
                <a:cxn ang="0">
                  <a:pos x="T2" y="T3"/>
                </a:cxn>
                <a:cxn ang="0">
                  <a:pos x="T4" y="T5"/>
                </a:cxn>
                <a:cxn ang="0">
                  <a:pos x="T6" y="T7"/>
                </a:cxn>
                <a:cxn ang="0">
                  <a:pos x="T8" y="T9"/>
                </a:cxn>
                <a:cxn ang="0">
                  <a:pos x="T10" y="T11"/>
                </a:cxn>
              </a:cxnLst>
              <a:rect l="0" t="0" r="r" b="b"/>
              <a:pathLst>
                <a:path w="406" h="119">
                  <a:moveTo>
                    <a:pt x="203" y="32"/>
                  </a:moveTo>
                  <a:cubicBezTo>
                    <a:pt x="287" y="32"/>
                    <a:pt x="362" y="66"/>
                    <a:pt x="406" y="119"/>
                  </a:cubicBezTo>
                  <a:cubicBezTo>
                    <a:pt x="406" y="0"/>
                    <a:pt x="406" y="0"/>
                    <a:pt x="406" y="0"/>
                  </a:cubicBezTo>
                  <a:cubicBezTo>
                    <a:pt x="0" y="0"/>
                    <a:pt x="0" y="0"/>
                    <a:pt x="0" y="0"/>
                  </a:cubicBezTo>
                  <a:cubicBezTo>
                    <a:pt x="0" y="119"/>
                    <a:pt x="0" y="119"/>
                    <a:pt x="0" y="119"/>
                  </a:cubicBezTo>
                  <a:cubicBezTo>
                    <a:pt x="45" y="66"/>
                    <a:pt x="119" y="32"/>
                    <a:pt x="203" y="32"/>
                  </a:cubicBezTo>
                  <a:close/>
                </a:path>
              </a:pathLst>
            </a:custGeom>
            <a:solidFill>
              <a:schemeClr val="accent1">
                <a:lumMod val="75000"/>
              </a:schemeClr>
            </a:solidFill>
            <a:ln>
              <a:noFill/>
            </a:ln>
          </p:spPr>
          <p:txBody>
            <a:bodyPr vert="horz" wrap="square" lIns="91428" tIns="45715" rIns="91428" bIns="45715" numCol="1" anchor="t" anchorCtr="0" compatLnSpc="1">
              <a:prstTxWarp prst="textNoShape">
                <a:avLst/>
              </a:prstTxWarp>
            </a:bodyPr>
            <a:lstStyle/>
            <a:p>
              <a:endParaRPr lang="nb-NO" sz="1800">
                <a:latin typeface="Microsoft JhengHei UI Light" panose="020B0304030504040204" pitchFamily="34" charset="-120"/>
                <a:ea typeface="Microsoft JhengHei UI Light" panose="020B0304030504040204" pitchFamily="34" charset="-120"/>
              </a:endParaRPr>
            </a:p>
          </p:txBody>
        </p:sp>
        <p:sp>
          <p:nvSpPr>
            <p:cNvPr id="18" name="Freeform 5"/>
            <p:cNvSpPr>
              <a:spLocks/>
            </p:cNvSpPr>
            <p:nvPr/>
          </p:nvSpPr>
          <p:spPr bwMode="auto">
            <a:xfrm flipV="1">
              <a:off x="5443538" y="2841625"/>
              <a:ext cx="1304925" cy="390525"/>
            </a:xfrm>
            <a:custGeom>
              <a:avLst/>
              <a:gdLst>
                <a:gd name="T0" fmla="*/ 203 w 406"/>
                <a:gd name="T1" fmla="*/ 32 h 119"/>
                <a:gd name="T2" fmla="*/ 406 w 406"/>
                <a:gd name="T3" fmla="*/ 119 h 119"/>
                <a:gd name="T4" fmla="*/ 406 w 406"/>
                <a:gd name="T5" fmla="*/ 0 h 119"/>
                <a:gd name="T6" fmla="*/ 0 w 406"/>
                <a:gd name="T7" fmla="*/ 0 h 119"/>
                <a:gd name="T8" fmla="*/ 0 w 406"/>
                <a:gd name="T9" fmla="*/ 119 h 119"/>
                <a:gd name="T10" fmla="*/ 203 w 406"/>
                <a:gd name="T11" fmla="*/ 32 h 119"/>
              </a:gdLst>
              <a:ahLst/>
              <a:cxnLst>
                <a:cxn ang="0">
                  <a:pos x="T0" y="T1"/>
                </a:cxn>
                <a:cxn ang="0">
                  <a:pos x="T2" y="T3"/>
                </a:cxn>
                <a:cxn ang="0">
                  <a:pos x="T4" y="T5"/>
                </a:cxn>
                <a:cxn ang="0">
                  <a:pos x="T6" y="T7"/>
                </a:cxn>
                <a:cxn ang="0">
                  <a:pos x="T8" y="T9"/>
                </a:cxn>
                <a:cxn ang="0">
                  <a:pos x="T10" y="T11"/>
                </a:cxn>
              </a:cxnLst>
              <a:rect l="0" t="0" r="r" b="b"/>
              <a:pathLst>
                <a:path w="406" h="119">
                  <a:moveTo>
                    <a:pt x="203" y="32"/>
                  </a:moveTo>
                  <a:cubicBezTo>
                    <a:pt x="287" y="32"/>
                    <a:pt x="362" y="66"/>
                    <a:pt x="406" y="119"/>
                  </a:cubicBezTo>
                  <a:cubicBezTo>
                    <a:pt x="406" y="0"/>
                    <a:pt x="406" y="0"/>
                    <a:pt x="406" y="0"/>
                  </a:cubicBezTo>
                  <a:cubicBezTo>
                    <a:pt x="0" y="0"/>
                    <a:pt x="0" y="0"/>
                    <a:pt x="0" y="0"/>
                  </a:cubicBezTo>
                  <a:cubicBezTo>
                    <a:pt x="0" y="119"/>
                    <a:pt x="0" y="119"/>
                    <a:pt x="0" y="119"/>
                  </a:cubicBezTo>
                  <a:cubicBezTo>
                    <a:pt x="45" y="66"/>
                    <a:pt x="119" y="32"/>
                    <a:pt x="203" y="32"/>
                  </a:cubicBezTo>
                  <a:close/>
                </a:path>
              </a:pathLst>
            </a:custGeom>
            <a:solidFill>
              <a:schemeClr val="accent1"/>
            </a:solidFill>
            <a:ln>
              <a:noFill/>
            </a:ln>
          </p:spPr>
          <p:txBody>
            <a:bodyPr vert="horz" wrap="square" lIns="91428" tIns="45715" rIns="91428" bIns="45715" numCol="1" anchor="t" anchorCtr="0" compatLnSpc="1">
              <a:prstTxWarp prst="textNoShape">
                <a:avLst/>
              </a:prstTxWarp>
            </a:bodyPr>
            <a:lstStyle/>
            <a:p>
              <a:endParaRPr lang="nb-NO" sz="1800">
                <a:latin typeface="Microsoft JhengHei UI Light" panose="020B0304030504040204" pitchFamily="34" charset="-120"/>
                <a:ea typeface="Microsoft JhengHei UI Light" panose="020B0304030504040204" pitchFamily="34" charset="-120"/>
              </a:endParaRPr>
            </a:p>
          </p:txBody>
        </p:sp>
      </p:grpSp>
      <p:grpSp>
        <p:nvGrpSpPr>
          <p:cNvPr id="12" name="Group 11"/>
          <p:cNvGrpSpPr/>
          <p:nvPr/>
        </p:nvGrpSpPr>
        <p:grpSpPr>
          <a:xfrm flipH="1">
            <a:off x="8950271" y="2585539"/>
            <a:ext cx="1978592" cy="1446007"/>
            <a:chOff x="5443538" y="2841625"/>
            <a:chExt cx="1304925" cy="781050"/>
          </a:xfrm>
        </p:grpSpPr>
        <p:sp>
          <p:nvSpPr>
            <p:cNvPr id="9" name="Freeform 5"/>
            <p:cNvSpPr>
              <a:spLocks/>
            </p:cNvSpPr>
            <p:nvPr/>
          </p:nvSpPr>
          <p:spPr bwMode="auto">
            <a:xfrm>
              <a:off x="5443538" y="3232150"/>
              <a:ext cx="1304925" cy="390525"/>
            </a:xfrm>
            <a:custGeom>
              <a:avLst/>
              <a:gdLst>
                <a:gd name="T0" fmla="*/ 203 w 406"/>
                <a:gd name="T1" fmla="*/ 32 h 119"/>
                <a:gd name="T2" fmla="*/ 406 w 406"/>
                <a:gd name="T3" fmla="*/ 119 h 119"/>
                <a:gd name="T4" fmla="*/ 406 w 406"/>
                <a:gd name="T5" fmla="*/ 0 h 119"/>
                <a:gd name="T6" fmla="*/ 0 w 406"/>
                <a:gd name="T7" fmla="*/ 0 h 119"/>
                <a:gd name="T8" fmla="*/ 0 w 406"/>
                <a:gd name="T9" fmla="*/ 119 h 119"/>
                <a:gd name="T10" fmla="*/ 203 w 406"/>
                <a:gd name="T11" fmla="*/ 32 h 119"/>
              </a:gdLst>
              <a:ahLst/>
              <a:cxnLst>
                <a:cxn ang="0">
                  <a:pos x="T0" y="T1"/>
                </a:cxn>
                <a:cxn ang="0">
                  <a:pos x="T2" y="T3"/>
                </a:cxn>
                <a:cxn ang="0">
                  <a:pos x="T4" y="T5"/>
                </a:cxn>
                <a:cxn ang="0">
                  <a:pos x="T6" y="T7"/>
                </a:cxn>
                <a:cxn ang="0">
                  <a:pos x="T8" y="T9"/>
                </a:cxn>
                <a:cxn ang="0">
                  <a:pos x="T10" y="T11"/>
                </a:cxn>
              </a:cxnLst>
              <a:rect l="0" t="0" r="r" b="b"/>
              <a:pathLst>
                <a:path w="406" h="119">
                  <a:moveTo>
                    <a:pt x="203" y="32"/>
                  </a:moveTo>
                  <a:cubicBezTo>
                    <a:pt x="287" y="32"/>
                    <a:pt x="362" y="66"/>
                    <a:pt x="406" y="119"/>
                  </a:cubicBezTo>
                  <a:cubicBezTo>
                    <a:pt x="406" y="0"/>
                    <a:pt x="406" y="0"/>
                    <a:pt x="406" y="0"/>
                  </a:cubicBezTo>
                  <a:cubicBezTo>
                    <a:pt x="0" y="0"/>
                    <a:pt x="0" y="0"/>
                    <a:pt x="0" y="0"/>
                  </a:cubicBezTo>
                  <a:cubicBezTo>
                    <a:pt x="0" y="119"/>
                    <a:pt x="0" y="119"/>
                    <a:pt x="0" y="119"/>
                  </a:cubicBezTo>
                  <a:cubicBezTo>
                    <a:pt x="45" y="66"/>
                    <a:pt x="119" y="32"/>
                    <a:pt x="203" y="32"/>
                  </a:cubicBezTo>
                  <a:close/>
                </a:path>
              </a:pathLst>
            </a:custGeom>
            <a:solidFill>
              <a:schemeClr val="accent2">
                <a:lumMod val="75000"/>
              </a:schemeClr>
            </a:solidFill>
            <a:ln>
              <a:noFill/>
            </a:ln>
          </p:spPr>
          <p:txBody>
            <a:bodyPr vert="horz" wrap="square" lIns="91428" tIns="45715" rIns="91428" bIns="45715" numCol="1" anchor="t" anchorCtr="0" compatLnSpc="1">
              <a:prstTxWarp prst="textNoShape">
                <a:avLst/>
              </a:prstTxWarp>
            </a:bodyPr>
            <a:lstStyle/>
            <a:p>
              <a:endParaRPr lang="nb-NO" sz="1800">
                <a:latin typeface="Microsoft JhengHei UI Light" panose="020B0304030504040204" pitchFamily="34" charset="-120"/>
                <a:ea typeface="Microsoft JhengHei UI Light" panose="020B0304030504040204" pitchFamily="34" charset="-120"/>
              </a:endParaRPr>
            </a:p>
          </p:txBody>
        </p:sp>
        <p:sp>
          <p:nvSpPr>
            <p:cNvPr id="10" name="Freeform 5"/>
            <p:cNvSpPr>
              <a:spLocks/>
            </p:cNvSpPr>
            <p:nvPr/>
          </p:nvSpPr>
          <p:spPr bwMode="auto">
            <a:xfrm flipV="1">
              <a:off x="5443538" y="2841625"/>
              <a:ext cx="1304925" cy="390525"/>
            </a:xfrm>
            <a:custGeom>
              <a:avLst/>
              <a:gdLst>
                <a:gd name="T0" fmla="*/ 203 w 406"/>
                <a:gd name="T1" fmla="*/ 32 h 119"/>
                <a:gd name="T2" fmla="*/ 406 w 406"/>
                <a:gd name="T3" fmla="*/ 119 h 119"/>
                <a:gd name="T4" fmla="*/ 406 w 406"/>
                <a:gd name="T5" fmla="*/ 0 h 119"/>
                <a:gd name="T6" fmla="*/ 0 w 406"/>
                <a:gd name="T7" fmla="*/ 0 h 119"/>
                <a:gd name="T8" fmla="*/ 0 w 406"/>
                <a:gd name="T9" fmla="*/ 119 h 119"/>
                <a:gd name="T10" fmla="*/ 203 w 406"/>
                <a:gd name="T11" fmla="*/ 32 h 119"/>
              </a:gdLst>
              <a:ahLst/>
              <a:cxnLst>
                <a:cxn ang="0">
                  <a:pos x="T0" y="T1"/>
                </a:cxn>
                <a:cxn ang="0">
                  <a:pos x="T2" y="T3"/>
                </a:cxn>
                <a:cxn ang="0">
                  <a:pos x="T4" y="T5"/>
                </a:cxn>
                <a:cxn ang="0">
                  <a:pos x="T6" y="T7"/>
                </a:cxn>
                <a:cxn ang="0">
                  <a:pos x="T8" y="T9"/>
                </a:cxn>
                <a:cxn ang="0">
                  <a:pos x="T10" y="T11"/>
                </a:cxn>
              </a:cxnLst>
              <a:rect l="0" t="0" r="r" b="b"/>
              <a:pathLst>
                <a:path w="406" h="119">
                  <a:moveTo>
                    <a:pt x="203" y="32"/>
                  </a:moveTo>
                  <a:cubicBezTo>
                    <a:pt x="287" y="32"/>
                    <a:pt x="362" y="66"/>
                    <a:pt x="406" y="119"/>
                  </a:cubicBezTo>
                  <a:cubicBezTo>
                    <a:pt x="406" y="0"/>
                    <a:pt x="406" y="0"/>
                    <a:pt x="406" y="0"/>
                  </a:cubicBezTo>
                  <a:cubicBezTo>
                    <a:pt x="0" y="0"/>
                    <a:pt x="0" y="0"/>
                    <a:pt x="0" y="0"/>
                  </a:cubicBezTo>
                  <a:cubicBezTo>
                    <a:pt x="0" y="119"/>
                    <a:pt x="0" y="119"/>
                    <a:pt x="0" y="119"/>
                  </a:cubicBezTo>
                  <a:cubicBezTo>
                    <a:pt x="45" y="66"/>
                    <a:pt x="119" y="32"/>
                    <a:pt x="203" y="32"/>
                  </a:cubicBezTo>
                  <a:close/>
                </a:path>
              </a:pathLst>
            </a:custGeom>
            <a:solidFill>
              <a:schemeClr val="accent2"/>
            </a:solidFill>
            <a:ln>
              <a:noFill/>
            </a:ln>
          </p:spPr>
          <p:txBody>
            <a:bodyPr vert="horz" wrap="square" lIns="91428" tIns="45715" rIns="91428" bIns="45715" numCol="1" anchor="t" anchorCtr="0" compatLnSpc="1">
              <a:prstTxWarp prst="textNoShape">
                <a:avLst/>
              </a:prstTxWarp>
            </a:bodyPr>
            <a:lstStyle/>
            <a:p>
              <a:endParaRPr lang="nb-NO" sz="1800">
                <a:latin typeface="Microsoft JhengHei UI Light" panose="020B0304030504040204" pitchFamily="34" charset="-120"/>
                <a:ea typeface="Microsoft JhengHei UI Light" panose="020B0304030504040204" pitchFamily="34" charset="-120"/>
              </a:endParaRPr>
            </a:p>
          </p:txBody>
        </p:sp>
      </p:grpSp>
      <p:sp>
        <p:nvSpPr>
          <p:cNvPr id="11" name="Oval 10"/>
          <p:cNvSpPr/>
          <p:nvPr/>
        </p:nvSpPr>
        <p:spPr>
          <a:xfrm flipH="1">
            <a:off x="10710967" y="1861622"/>
            <a:ext cx="2931108" cy="2821685"/>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800">
              <a:latin typeface="Microsoft JhengHei UI Light" panose="020B0304030504040204" pitchFamily="34" charset="-120"/>
              <a:ea typeface="Microsoft JhengHei UI Light" panose="020B0304030504040204" pitchFamily="34" charset="-120"/>
              <a:cs typeface="Arial" panose="020B0604020202020204" pitchFamily="34" charset="0"/>
            </a:endParaRPr>
          </a:p>
        </p:txBody>
      </p:sp>
      <p:sp>
        <p:nvSpPr>
          <p:cNvPr id="22" name="Oval 21"/>
          <p:cNvSpPr/>
          <p:nvPr/>
        </p:nvSpPr>
        <p:spPr>
          <a:xfrm flipH="1">
            <a:off x="8834913" y="246674"/>
            <a:ext cx="1654535" cy="1592767"/>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Microsoft JhengHei UI Light" panose="020B0304030504040204" pitchFamily="34" charset="-120"/>
              <a:ea typeface="Microsoft JhengHei UI Light" panose="020B0304030504040204" pitchFamily="34" charset="-120"/>
            </a:endParaRPr>
          </a:p>
        </p:txBody>
      </p:sp>
      <p:sp>
        <p:nvSpPr>
          <p:cNvPr id="25" name="Oval 24"/>
          <p:cNvSpPr/>
          <p:nvPr/>
        </p:nvSpPr>
        <p:spPr>
          <a:xfrm flipH="1">
            <a:off x="7813985" y="2508309"/>
            <a:ext cx="1654535" cy="1592767"/>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Microsoft JhengHei UI Light" panose="020B0304030504040204" pitchFamily="34" charset="-120"/>
              <a:ea typeface="Microsoft JhengHei UI Light" panose="020B0304030504040204" pitchFamily="34" charset="-120"/>
            </a:endParaRPr>
          </a:p>
        </p:txBody>
      </p:sp>
      <p:sp>
        <p:nvSpPr>
          <p:cNvPr id="26" name="Oval 25"/>
          <p:cNvSpPr/>
          <p:nvPr/>
        </p:nvSpPr>
        <p:spPr>
          <a:xfrm flipH="1">
            <a:off x="8997575" y="4769942"/>
            <a:ext cx="1654535" cy="1592767"/>
          </a:xfrm>
          <a:prstGeom prst="ellipse">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Microsoft JhengHei UI Light" panose="020B0304030504040204" pitchFamily="34" charset="-120"/>
              <a:ea typeface="Microsoft JhengHei UI Light" panose="020B0304030504040204" pitchFamily="34" charset="-120"/>
            </a:endParaRPr>
          </a:p>
        </p:txBody>
      </p:sp>
      <p:sp>
        <p:nvSpPr>
          <p:cNvPr id="28" name="Oval 27"/>
          <p:cNvSpPr/>
          <p:nvPr/>
        </p:nvSpPr>
        <p:spPr>
          <a:xfrm flipH="1">
            <a:off x="8988086" y="383775"/>
            <a:ext cx="1324124" cy="13463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Microsoft JhengHei UI Light" panose="020B0304030504040204" pitchFamily="34" charset="-120"/>
              <a:ea typeface="Microsoft JhengHei UI Light" panose="020B0304030504040204" pitchFamily="34" charset="-120"/>
            </a:endParaRPr>
          </a:p>
        </p:txBody>
      </p:sp>
      <p:sp>
        <p:nvSpPr>
          <p:cNvPr id="29" name="Oval 28"/>
          <p:cNvSpPr/>
          <p:nvPr/>
        </p:nvSpPr>
        <p:spPr>
          <a:xfrm flipH="1">
            <a:off x="7972840" y="2652902"/>
            <a:ext cx="1315291" cy="132450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Microsoft JhengHei UI Light" panose="020B0304030504040204" pitchFamily="34" charset="-120"/>
              <a:ea typeface="Microsoft JhengHei UI Light" panose="020B0304030504040204" pitchFamily="34" charset="-120"/>
            </a:endParaRPr>
          </a:p>
        </p:txBody>
      </p:sp>
      <p:sp>
        <p:nvSpPr>
          <p:cNvPr id="30" name="Oval 29"/>
          <p:cNvSpPr/>
          <p:nvPr/>
        </p:nvSpPr>
        <p:spPr>
          <a:xfrm flipH="1">
            <a:off x="9151510" y="4923873"/>
            <a:ext cx="1346404" cy="129648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latin typeface="Microsoft JhengHei UI Light" panose="020B0304030504040204" pitchFamily="34" charset="-120"/>
              <a:ea typeface="Microsoft JhengHei UI Light" panose="020B0304030504040204" pitchFamily="34" charset="-120"/>
            </a:endParaRPr>
          </a:p>
        </p:txBody>
      </p:sp>
      <p:sp>
        <p:nvSpPr>
          <p:cNvPr id="31" name="TextBox 30"/>
          <p:cNvSpPr txBox="1"/>
          <p:nvPr/>
        </p:nvSpPr>
        <p:spPr>
          <a:xfrm flipH="1">
            <a:off x="9025571" y="498536"/>
            <a:ext cx="1278172" cy="1046440"/>
          </a:xfrm>
          <a:prstGeom prst="rect">
            <a:avLst/>
          </a:prstGeom>
          <a:noFill/>
        </p:spPr>
        <p:txBody>
          <a:bodyPr wrap="square" rtlCol="0">
            <a:spAutoFit/>
          </a:bodyPr>
          <a:lstStyle/>
          <a:p>
            <a:pPr algn="ctr"/>
            <a:r>
              <a:rPr lang="nb-NO" sz="4400">
                <a:solidFill>
                  <a:srgbClr val="FBFBFB"/>
                </a:solidFill>
                <a:latin typeface="Microsoft JhengHei UI Light" panose="020B0304030504040204" pitchFamily="34" charset="-120"/>
                <a:ea typeface="Microsoft JhengHei UI Light" panose="020B0304030504040204" pitchFamily="34" charset="-120"/>
              </a:rPr>
              <a:t>1</a:t>
            </a:r>
            <a:endParaRPr lang="nb-NO" sz="1800">
              <a:solidFill>
                <a:srgbClr val="FBFBFB"/>
              </a:solidFill>
              <a:latin typeface="Microsoft JhengHei UI Light" panose="020B0304030504040204" pitchFamily="34" charset="-120"/>
              <a:ea typeface="Microsoft JhengHei UI Light" panose="020B0304030504040204" pitchFamily="34" charset="-120"/>
            </a:endParaRPr>
          </a:p>
          <a:p>
            <a:pPr algn="ctr"/>
            <a:r>
              <a:rPr lang="nb-NO" sz="1800">
                <a:solidFill>
                  <a:srgbClr val="FBFBFB"/>
                </a:solidFill>
                <a:latin typeface="Microsoft JhengHei UI Light" panose="020B0304030504040204" pitchFamily="34" charset="-120"/>
                <a:ea typeface="Microsoft JhengHei UI Light" panose="020B0304030504040204" pitchFamily="34" charset="-120"/>
              </a:rPr>
              <a:t>Faglig</a:t>
            </a:r>
          </a:p>
        </p:txBody>
      </p:sp>
      <p:sp>
        <p:nvSpPr>
          <p:cNvPr id="32" name="TextBox 31"/>
          <p:cNvSpPr txBox="1"/>
          <p:nvPr/>
        </p:nvSpPr>
        <p:spPr>
          <a:xfrm flipH="1">
            <a:off x="8001493" y="2779763"/>
            <a:ext cx="1278172" cy="1046440"/>
          </a:xfrm>
          <a:prstGeom prst="rect">
            <a:avLst/>
          </a:prstGeom>
          <a:noFill/>
        </p:spPr>
        <p:txBody>
          <a:bodyPr wrap="square" rtlCol="0">
            <a:spAutoFit/>
          </a:bodyPr>
          <a:lstStyle/>
          <a:p>
            <a:pPr algn="ctr"/>
            <a:r>
              <a:rPr lang="nb-NO" sz="4400">
                <a:solidFill>
                  <a:srgbClr val="FBFBFB"/>
                </a:solidFill>
                <a:latin typeface="Microsoft JhengHei UI Light" panose="020B0304030504040204" pitchFamily="34" charset="-120"/>
                <a:ea typeface="Microsoft JhengHei UI Light" panose="020B0304030504040204" pitchFamily="34" charset="-120"/>
              </a:rPr>
              <a:t>2</a:t>
            </a:r>
            <a:endParaRPr lang="nb-NO" sz="1800">
              <a:solidFill>
                <a:srgbClr val="FBFBFB"/>
              </a:solidFill>
              <a:latin typeface="Microsoft JhengHei UI Light" panose="020B0304030504040204" pitchFamily="34" charset="-120"/>
              <a:ea typeface="Microsoft JhengHei UI Light" panose="020B0304030504040204" pitchFamily="34" charset="-120"/>
            </a:endParaRPr>
          </a:p>
          <a:p>
            <a:pPr algn="ctr"/>
            <a:r>
              <a:rPr lang="nb-NO" sz="1800">
                <a:solidFill>
                  <a:srgbClr val="FBFBFB"/>
                </a:solidFill>
                <a:latin typeface="Microsoft JhengHei UI Light" panose="020B0304030504040204" pitchFamily="34" charset="-120"/>
                <a:ea typeface="Microsoft JhengHei UI Light" panose="020B0304030504040204" pitchFamily="34" charset="-120"/>
              </a:rPr>
              <a:t>Kritisk</a:t>
            </a:r>
          </a:p>
        </p:txBody>
      </p:sp>
      <p:sp>
        <p:nvSpPr>
          <p:cNvPr id="33" name="TextBox 32"/>
          <p:cNvSpPr txBox="1"/>
          <p:nvPr/>
        </p:nvSpPr>
        <p:spPr>
          <a:xfrm flipH="1">
            <a:off x="9189065" y="5084944"/>
            <a:ext cx="1278172" cy="1046440"/>
          </a:xfrm>
          <a:prstGeom prst="rect">
            <a:avLst/>
          </a:prstGeom>
          <a:noFill/>
        </p:spPr>
        <p:txBody>
          <a:bodyPr wrap="square" rtlCol="0">
            <a:spAutoFit/>
          </a:bodyPr>
          <a:lstStyle/>
          <a:p>
            <a:pPr algn="ctr"/>
            <a:r>
              <a:rPr lang="nb-NO" sz="4400">
                <a:solidFill>
                  <a:srgbClr val="FBFBFB"/>
                </a:solidFill>
                <a:latin typeface="Microsoft JhengHei UI Light" panose="020B0304030504040204" pitchFamily="34" charset="-120"/>
                <a:ea typeface="Microsoft JhengHei UI Light" panose="020B0304030504040204" pitchFamily="34" charset="-120"/>
              </a:rPr>
              <a:t>3</a:t>
            </a:r>
            <a:endParaRPr lang="nb-NO" sz="1800">
              <a:solidFill>
                <a:srgbClr val="FBFBFB"/>
              </a:solidFill>
              <a:latin typeface="Microsoft JhengHei UI Light" panose="020B0304030504040204" pitchFamily="34" charset="-120"/>
              <a:ea typeface="Microsoft JhengHei UI Light" panose="020B0304030504040204" pitchFamily="34" charset="-120"/>
            </a:endParaRPr>
          </a:p>
          <a:p>
            <a:pPr algn="ctr"/>
            <a:r>
              <a:rPr lang="nb-NO" sz="1800">
                <a:solidFill>
                  <a:srgbClr val="FBFBFB"/>
                </a:solidFill>
                <a:latin typeface="Microsoft JhengHei UI Light" panose="020B0304030504040204" pitchFamily="34" charset="-120"/>
                <a:ea typeface="Microsoft JhengHei UI Light" panose="020B0304030504040204" pitchFamily="34" charset="-120"/>
              </a:rPr>
              <a:t>Språk</a:t>
            </a:r>
          </a:p>
        </p:txBody>
      </p:sp>
      <p:sp>
        <p:nvSpPr>
          <p:cNvPr id="34" name="Rectangle 33"/>
          <p:cNvSpPr/>
          <p:nvPr/>
        </p:nvSpPr>
        <p:spPr>
          <a:xfrm flipH="1">
            <a:off x="5326770" y="1330735"/>
            <a:ext cx="3462565" cy="1020464"/>
          </a:xfrm>
          <a:prstGeom prst="rect">
            <a:avLst/>
          </a:prstGeom>
        </p:spPr>
        <p:txBody>
          <a:bodyPr wrap="square" lIns="243808" rIns="243808" bIns="60952">
            <a:spAutoFit/>
          </a:bodyPr>
          <a:lstStyle/>
          <a:p>
            <a:pPr algn="r">
              <a:lnSpc>
                <a:spcPct val="89000"/>
              </a:lnSpc>
            </a:pPr>
            <a:r>
              <a:rPr lang="nb-NO" sz="1333">
                <a:latin typeface="Microsoft JhengHei UI Light" panose="020B0304030504040204" pitchFamily="34" charset="-120"/>
                <a:ea typeface="Microsoft JhengHei UI Light" panose="020B0304030504040204" pitchFamily="34" charset="-120"/>
              </a:rPr>
              <a:t>Når sykehus tar i bruk ny pasientinformasjon, godkjennes den lokalt og behandlere kan sende inn endringer på faglig innhold i det nasjonal innholdet</a:t>
            </a:r>
          </a:p>
        </p:txBody>
      </p:sp>
      <p:sp>
        <p:nvSpPr>
          <p:cNvPr id="38" name="Rectangle 37"/>
          <p:cNvSpPr/>
          <p:nvPr/>
        </p:nvSpPr>
        <p:spPr>
          <a:xfrm rot="5400000" flipH="1">
            <a:off x="8622030" y="2948970"/>
            <a:ext cx="6095207" cy="707886"/>
          </a:xfrm>
          <a:prstGeom prst="rect">
            <a:avLst/>
          </a:prstGeom>
        </p:spPr>
        <p:txBody>
          <a:bodyPr>
            <a:spAutoFit/>
          </a:bodyPr>
          <a:lstStyle/>
          <a:p>
            <a:pPr algn="ctr"/>
            <a:r>
              <a:rPr lang="nb-NO" sz="4000">
                <a:solidFill>
                  <a:schemeClr val="bg1"/>
                </a:solidFill>
                <a:latin typeface="Microsoft JhengHei UI Light" panose="020B0304030504040204" pitchFamily="34" charset="-120"/>
                <a:ea typeface="Microsoft JhengHei UI Light" panose="020B0304030504040204" pitchFamily="34" charset="-120"/>
                <a:cs typeface="Arial" panose="020B0604020202020204" pitchFamily="34" charset="0"/>
              </a:rPr>
              <a:t>Kilden</a:t>
            </a:r>
            <a:endParaRPr lang="nb-NO" sz="1800">
              <a:solidFill>
                <a:schemeClr val="bg1"/>
              </a:solidFill>
              <a:latin typeface="Microsoft JhengHei UI Light" panose="020B0304030504040204" pitchFamily="34" charset="-120"/>
              <a:ea typeface="Microsoft JhengHei UI Light" panose="020B0304030504040204" pitchFamily="34" charset="-120"/>
              <a:cs typeface="Arial" panose="020B0604020202020204" pitchFamily="34" charset="0"/>
            </a:endParaRPr>
          </a:p>
        </p:txBody>
      </p:sp>
      <p:sp>
        <p:nvSpPr>
          <p:cNvPr id="39" name="Rounded Rectangle 38"/>
          <p:cNvSpPr/>
          <p:nvPr/>
        </p:nvSpPr>
        <p:spPr>
          <a:xfrm flipH="1">
            <a:off x="6254371" y="872646"/>
            <a:ext cx="2293365" cy="321477"/>
          </a:xfrm>
          <a:prstGeom prst="roundRect">
            <a:avLst>
              <a:gd name="adj" fmla="val 3518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a:latin typeface="Microsoft JhengHei UI Light" panose="020B0304030504040204" pitchFamily="34" charset="-120"/>
                <a:ea typeface="Microsoft JhengHei UI Light" panose="020B0304030504040204" pitchFamily="34" charset="-120"/>
              </a:rPr>
              <a:t>Faglige endringer</a:t>
            </a:r>
          </a:p>
        </p:txBody>
      </p:sp>
      <p:sp>
        <p:nvSpPr>
          <p:cNvPr id="41" name="Rectangle 40"/>
          <p:cNvSpPr/>
          <p:nvPr/>
        </p:nvSpPr>
        <p:spPr>
          <a:xfrm flipH="1">
            <a:off x="5017509" y="3680646"/>
            <a:ext cx="2743209" cy="655364"/>
          </a:xfrm>
          <a:prstGeom prst="rect">
            <a:avLst/>
          </a:prstGeom>
        </p:spPr>
        <p:txBody>
          <a:bodyPr wrap="square" lIns="243808" rIns="243808" bIns="60952">
            <a:spAutoFit/>
          </a:bodyPr>
          <a:lstStyle/>
          <a:p>
            <a:pPr algn="r">
              <a:lnSpc>
                <a:spcPct val="89000"/>
              </a:lnSpc>
            </a:pPr>
            <a:r>
              <a:rPr lang="nb-NO" sz="1333">
                <a:latin typeface="Microsoft JhengHei UI Light" panose="020B0304030504040204" pitchFamily="34" charset="-120"/>
                <a:ea typeface="Microsoft JhengHei UI Light" panose="020B0304030504040204" pitchFamily="34" charset="-120"/>
              </a:rPr>
              <a:t>Ved ny forskning og ved nye nasjonale retningslinjer, endres innholdet direkte</a:t>
            </a:r>
          </a:p>
        </p:txBody>
      </p:sp>
      <p:sp>
        <p:nvSpPr>
          <p:cNvPr id="42" name="Rounded Rectangle 41"/>
          <p:cNvSpPr/>
          <p:nvPr/>
        </p:nvSpPr>
        <p:spPr>
          <a:xfrm flipH="1">
            <a:off x="5562431" y="3211926"/>
            <a:ext cx="1955541" cy="321477"/>
          </a:xfrm>
          <a:prstGeom prst="roundRect">
            <a:avLst>
              <a:gd name="adj" fmla="val 351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a:latin typeface="Microsoft JhengHei UI Light" panose="020B0304030504040204" pitchFamily="34" charset="-120"/>
                <a:ea typeface="Microsoft JhengHei UI Light" panose="020B0304030504040204" pitchFamily="34" charset="-120"/>
              </a:rPr>
              <a:t>Kritiske endringer</a:t>
            </a:r>
          </a:p>
        </p:txBody>
      </p:sp>
      <p:sp>
        <p:nvSpPr>
          <p:cNvPr id="44" name="Rectangle 43"/>
          <p:cNvSpPr/>
          <p:nvPr/>
        </p:nvSpPr>
        <p:spPr>
          <a:xfrm flipH="1">
            <a:off x="5905518" y="5922977"/>
            <a:ext cx="3093601" cy="655364"/>
          </a:xfrm>
          <a:prstGeom prst="rect">
            <a:avLst/>
          </a:prstGeom>
        </p:spPr>
        <p:txBody>
          <a:bodyPr wrap="square" lIns="243808" rIns="243808" bIns="60952">
            <a:spAutoFit/>
          </a:bodyPr>
          <a:lstStyle/>
          <a:p>
            <a:pPr algn="r">
              <a:lnSpc>
                <a:spcPct val="89000"/>
              </a:lnSpc>
            </a:pPr>
            <a:r>
              <a:rPr lang="nb-NO" sz="1333">
                <a:latin typeface="Microsoft JhengHei UI Light" panose="020B0304030504040204" pitchFamily="34" charset="-120"/>
                <a:ea typeface="Microsoft JhengHei UI Light" panose="020B0304030504040204" pitchFamily="34" charset="-120"/>
              </a:rPr>
              <a:t>Dersom endring i tekst ikke medfører endring i faglig innhold blir endret direkte</a:t>
            </a:r>
          </a:p>
        </p:txBody>
      </p:sp>
      <p:sp>
        <p:nvSpPr>
          <p:cNvPr id="45" name="Rounded Rectangle 44"/>
          <p:cNvSpPr/>
          <p:nvPr/>
        </p:nvSpPr>
        <p:spPr>
          <a:xfrm flipH="1">
            <a:off x="6768074" y="5490828"/>
            <a:ext cx="1986761" cy="321477"/>
          </a:xfrm>
          <a:prstGeom prst="roundRect">
            <a:avLst>
              <a:gd name="adj" fmla="val 35188"/>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nb-NO" sz="1600">
                <a:latin typeface="Microsoft JhengHei UI Light" panose="020B0304030504040204" pitchFamily="34" charset="-120"/>
                <a:ea typeface="Microsoft JhengHei UI Light" panose="020B0304030504040204" pitchFamily="34" charset="-120"/>
              </a:rPr>
              <a:t>Endringer i ordlyd</a:t>
            </a:r>
          </a:p>
        </p:txBody>
      </p:sp>
    </p:spTree>
    <p:extLst>
      <p:ext uri="{BB962C8B-B14F-4D97-AF65-F5344CB8AC3E}">
        <p14:creationId xmlns:p14="http://schemas.microsoft.com/office/powerpoint/2010/main" val="3335450687"/>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5">
            <a:extLst>
              <a:ext uri="{FF2B5EF4-FFF2-40B4-BE49-F238E27FC236}">
                <a16:creationId xmlns:a16="http://schemas.microsoft.com/office/drawing/2014/main" id="{9625CF36-297D-4CDB-98EB-857D757A8E36}"/>
              </a:ext>
            </a:extLst>
          </p:cNvPr>
          <p:cNvSpPr/>
          <p:nvPr/>
        </p:nvSpPr>
        <p:spPr>
          <a:xfrm>
            <a:off x="6489759" y="1414767"/>
            <a:ext cx="5702833" cy="4541652"/>
          </a:xfrm>
          <a:prstGeom prst="rect">
            <a:avLst/>
          </a:prstGeom>
          <a:solidFill>
            <a:schemeClr val="bg1">
              <a:lumMod val="8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latin typeface="Microsoft JhengHei UI Light" panose="020B0304030504040204" pitchFamily="34" charset="-120"/>
              <a:ea typeface="Microsoft JhengHei UI Light" panose="020B0304030504040204" pitchFamily="34" charset="-120"/>
            </a:endParaRPr>
          </a:p>
        </p:txBody>
      </p:sp>
      <p:sp>
        <p:nvSpPr>
          <p:cNvPr id="101" name="TextBox 100">
            <a:extLst>
              <a:ext uri="{FF2B5EF4-FFF2-40B4-BE49-F238E27FC236}">
                <a16:creationId xmlns:a16="http://schemas.microsoft.com/office/drawing/2014/main" id="{B2662C22-3FF8-4490-91E6-F5E789F5B208}"/>
              </a:ext>
            </a:extLst>
          </p:cNvPr>
          <p:cNvSpPr txBox="1"/>
          <p:nvPr/>
        </p:nvSpPr>
        <p:spPr>
          <a:xfrm>
            <a:off x="6760433" y="614113"/>
            <a:ext cx="463635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sz="3200">
                <a:solidFill>
                  <a:schemeClr val="tx1">
                    <a:lumMod val="90000"/>
                    <a:lumOff val="10000"/>
                  </a:schemeClr>
                </a:solidFill>
                <a:latin typeface="Microsoft JhengHei UI Light"/>
                <a:ea typeface="Microsoft JhengHei UI Light"/>
                <a:cs typeface="+mj-cs"/>
              </a:defRPr>
            </a:lvl1pPr>
          </a:lstStyle>
          <a:p>
            <a:r>
              <a:rPr lang="nb-NO"/>
              <a:t>Formål for samarbeidet</a:t>
            </a:r>
          </a:p>
        </p:txBody>
      </p:sp>
      <p:sp>
        <p:nvSpPr>
          <p:cNvPr id="102" name="Textfeld 32">
            <a:extLst>
              <a:ext uri="{FF2B5EF4-FFF2-40B4-BE49-F238E27FC236}">
                <a16:creationId xmlns:a16="http://schemas.microsoft.com/office/drawing/2014/main" id="{2479F756-CFE7-49E0-BDD0-674F0EB48A62}"/>
              </a:ext>
            </a:extLst>
          </p:cNvPr>
          <p:cNvSpPr txBox="1"/>
          <p:nvPr/>
        </p:nvSpPr>
        <p:spPr>
          <a:xfrm>
            <a:off x="6850399" y="1494039"/>
            <a:ext cx="4751490" cy="4655249"/>
          </a:xfrm>
          <a:prstGeom prst="rect">
            <a:avLst/>
          </a:prstGeom>
          <a:noFill/>
        </p:spPr>
        <p:txBody>
          <a:bodyPr wrap="square" rtlCol="0">
            <a:spAutoFit/>
          </a:bodyPr>
          <a:lstStyle/>
          <a:p>
            <a:pPr defTabSz="228554">
              <a:lnSpc>
                <a:spcPct val="150000"/>
              </a:lnSpc>
              <a:defRPr/>
            </a:pPr>
            <a:r>
              <a:rPr lang="nb-NO" sz="2000" dirty="0">
                <a:latin typeface="Microsoft YaHei UI Light" panose="020B0502040204020203" pitchFamily="34" charset="-122"/>
                <a:ea typeface="Microsoft YaHei UI Light" panose="020B0502040204020203" pitchFamily="34" charset="-122"/>
                <a:cs typeface="Calibri"/>
              </a:rPr>
              <a:t>Vi skal bidra til pasientens digitale helsetjeneste med enhetlig</a:t>
            </a:r>
            <a:r>
              <a:rPr lang="nb-NO" sz="2000" dirty="0">
                <a:solidFill>
                  <a:srgbClr val="0070C0"/>
                </a:solidFill>
                <a:latin typeface="Microsoft JhengHei UI Light" panose="020B0304030504040204" pitchFamily="34" charset="-120"/>
                <a:ea typeface="Microsoft JhengHei UI Light" panose="020B0304030504040204" pitchFamily="34" charset="-120"/>
              </a:rPr>
              <a:t> informasjon </a:t>
            </a:r>
            <a:r>
              <a:rPr lang="nb-NO" sz="2000" dirty="0">
                <a:latin typeface="Microsoft YaHei UI Light" panose="020B0502040204020203" pitchFamily="34" charset="-122"/>
                <a:ea typeface="Microsoft YaHei UI Light" panose="020B0502040204020203" pitchFamily="34" charset="-122"/>
                <a:cs typeface="Calibri"/>
              </a:rPr>
              <a:t>fra spesialisthelsetjenesten, som er lett tilgjengelig, har høy kvalitet og som bidrar til en mer bærekraftig helsetjeneste. </a:t>
            </a:r>
          </a:p>
          <a:p>
            <a:pPr algn="ctr" defTabSz="228554">
              <a:lnSpc>
                <a:spcPct val="150000"/>
              </a:lnSpc>
              <a:defRPr/>
            </a:pPr>
            <a:endParaRPr lang="nb-NO" sz="2000" dirty="0">
              <a:latin typeface="Microsoft YaHei UI Light" panose="020B0502040204020203" pitchFamily="34" charset="-122"/>
              <a:ea typeface="Microsoft YaHei UI Light" panose="020B0502040204020203" pitchFamily="34" charset="-122"/>
              <a:cs typeface="Calibri"/>
            </a:endParaRPr>
          </a:p>
          <a:p>
            <a:pPr algn="ctr" defTabSz="228554">
              <a:lnSpc>
                <a:spcPct val="150000"/>
              </a:lnSpc>
              <a:defRPr/>
            </a:pPr>
            <a:r>
              <a:rPr lang="nb-NO" sz="2000" dirty="0">
                <a:solidFill>
                  <a:srgbClr val="0070C0"/>
                </a:solidFill>
                <a:latin typeface="Microsoft JhengHei UI Light" panose="020B0304030504040204" pitchFamily="34" charset="-120"/>
                <a:ea typeface="Microsoft JhengHei UI Light" panose="020B0304030504040204" pitchFamily="34" charset="-120"/>
              </a:rPr>
              <a:t>Alt informasjon som kan være felles mellom sykehusene skal være felles!</a:t>
            </a:r>
          </a:p>
          <a:p>
            <a:pPr defTabSz="228554">
              <a:lnSpc>
                <a:spcPct val="150000"/>
              </a:lnSpc>
              <a:defRPr/>
            </a:pPr>
            <a:endParaRPr lang="nb-NO" sz="2000" dirty="0">
              <a:latin typeface="Microsoft JhengHei UI" panose="020B0604030504040204" pitchFamily="34" charset="-120"/>
              <a:ea typeface="Microsoft JhengHei UI" panose="020B0604030504040204" pitchFamily="34" charset="-120"/>
            </a:endParaRPr>
          </a:p>
        </p:txBody>
      </p:sp>
      <p:pic>
        <p:nvPicPr>
          <p:cNvPr id="103" name="Bilde 102"/>
          <p:cNvPicPr>
            <a:picLocks noChangeAspect="1"/>
          </p:cNvPicPr>
          <p:nvPr/>
        </p:nvPicPr>
        <p:blipFill rotWithShape="1">
          <a:blip r:embed="rId2" cstate="screen">
            <a:lum bright="70000" contrast="-70000"/>
            <a:extLst>
              <a:ext uri="{28A0092B-C50C-407E-A947-70E740481C1C}">
                <a14:useLocalDpi xmlns:a14="http://schemas.microsoft.com/office/drawing/2010/main" val="0"/>
              </a:ext>
            </a:extLst>
          </a:blip>
          <a:srcRect/>
          <a:stretch/>
        </p:blipFill>
        <p:spPr>
          <a:xfrm>
            <a:off x="5137859" y="3545031"/>
            <a:ext cx="311312" cy="310033"/>
          </a:xfrm>
          <a:prstGeom prst="rect">
            <a:avLst/>
          </a:prstGeom>
        </p:spPr>
      </p:pic>
      <p:pic>
        <p:nvPicPr>
          <p:cNvPr id="104" name="Bilde 103"/>
          <p:cNvPicPr>
            <a:picLocks noChangeAspect="1"/>
          </p:cNvPicPr>
          <p:nvPr/>
        </p:nvPicPr>
        <p:blipFill rotWithShape="1">
          <a:blip r:embed="rId3" cstate="screen">
            <a:lum bright="70000" contrast="-70000"/>
            <a:extLst>
              <a:ext uri="{28A0092B-C50C-407E-A947-70E740481C1C}">
                <a14:useLocalDpi xmlns:a14="http://schemas.microsoft.com/office/drawing/2010/main" val="0"/>
              </a:ext>
            </a:extLst>
          </a:blip>
          <a:srcRect/>
          <a:stretch/>
        </p:blipFill>
        <p:spPr>
          <a:xfrm>
            <a:off x="1811491" y="1898689"/>
            <a:ext cx="653063" cy="650379"/>
          </a:xfrm>
          <a:prstGeom prst="rect">
            <a:avLst/>
          </a:prstGeom>
        </p:spPr>
      </p:pic>
      <p:sp>
        <p:nvSpPr>
          <p:cNvPr id="105" name="Oval 6">
            <a:extLst>
              <a:ext uri="{FF2B5EF4-FFF2-40B4-BE49-F238E27FC236}">
                <a16:creationId xmlns:a16="http://schemas.microsoft.com/office/drawing/2014/main" id="{3C436A00-07F7-48B9-B537-FF1EAA646226}"/>
              </a:ext>
            </a:extLst>
          </p:cNvPr>
          <p:cNvSpPr>
            <a:spLocks noChangeArrowheads="1"/>
          </p:cNvSpPr>
          <p:nvPr/>
        </p:nvSpPr>
        <p:spPr bwMode="auto">
          <a:xfrm>
            <a:off x="1522610" y="5094769"/>
            <a:ext cx="3227362" cy="235520"/>
          </a:xfrm>
          <a:prstGeom prst="ellipse">
            <a:avLst/>
          </a:prstGeom>
          <a:solidFill>
            <a:schemeClr val="accent1">
              <a:lumMod val="20000"/>
              <a:lumOff val="80000"/>
            </a:schemeClr>
          </a:solidFill>
          <a:ln>
            <a:noFill/>
          </a:ln>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grpSp>
        <p:nvGrpSpPr>
          <p:cNvPr id="106" name="Group 99">
            <a:extLst>
              <a:ext uri="{FF2B5EF4-FFF2-40B4-BE49-F238E27FC236}">
                <a16:creationId xmlns:a16="http://schemas.microsoft.com/office/drawing/2014/main" id="{A8C55C90-059C-45DA-9D1D-D81C9C1AB4F7}"/>
              </a:ext>
            </a:extLst>
          </p:cNvPr>
          <p:cNvGrpSpPr/>
          <p:nvPr/>
        </p:nvGrpSpPr>
        <p:grpSpPr>
          <a:xfrm>
            <a:off x="806851" y="1872927"/>
            <a:ext cx="1565841" cy="3350642"/>
            <a:chOff x="1613911" y="3745449"/>
            <a:chExt cx="3132090" cy="6702157"/>
          </a:xfrm>
        </p:grpSpPr>
        <p:sp>
          <p:nvSpPr>
            <p:cNvPr id="108" name="Freeform 7">
              <a:extLst>
                <a:ext uri="{FF2B5EF4-FFF2-40B4-BE49-F238E27FC236}">
                  <a16:creationId xmlns:a16="http://schemas.microsoft.com/office/drawing/2014/main" id="{F72478B8-5B50-4303-956E-A57E88EA637B}"/>
                </a:ext>
              </a:extLst>
            </p:cNvPr>
            <p:cNvSpPr>
              <a:spLocks/>
            </p:cNvSpPr>
            <p:nvPr/>
          </p:nvSpPr>
          <p:spPr bwMode="auto">
            <a:xfrm>
              <a:off x="1753769" y="3745449"/>
              <a:ext cx="2992232" cy="6002866"/>
            </a:xfrm>
            <a:custGeom>
              <a:avLst/>
              <a:gdLst>
                <a:gd name="T0" fmla="*/ 298 w 860"/>
                <a:gd name="T1" fmla="*/ 825 h 1725"/>
                <a:gd name="T2" fmla="*/ 233 w 860"/>
                <a:gd name="T3" fmla="*/ 601 h 1725"/>
                <a:gd name="T4" fmla="*/ 354 w 860"/>
                <a:gd name="T5" fmla="*/ 346 h 1725"/>
                <a:gd name="T6" fmla="*/ 290 w 860"/>
                <a:gd name="T7" fmla="*/ 208 h 1725"/>
                <a:gd name="T8" fmla="*/ 460 w 860"/>
                <a:gd name="T9" fmla="*/ 8 h 1725"/>
                <a:gd name="T10" fmla="*/ 660 w 860"/>
                <a:gd name="T11" fmla="*/ 178 h 1725"/>
                <a:gd name="T12" fmla="*/ 638 w 860"/>
                <a:gd name="T13" fmla="*/ 282 h 1725"/>
                <a:gd name="T14" fmla="*/ 828 w 860"/>
                <a:gd name="T15" fmla="*/ 551 h 1725"/>
                <a:gd name="T16" fmla="*/ 709 w 860"/>
                <a:gd name="T17" fmla="*/ 874 h 1725"/>
                <a:gd name="T18" fmla="*/ 858 w 860"/>
                <a:gd name="T19" fmla="*/ 1209 h 1725"/>
                <a:gd name="T20" fmla="*/ 377 w 860"/>
                <a:gd name="T21" fmla="*/ 1688 h 1725"/>
                <a:gd name="T22" fmla="*/ 37 w 860"/>
                <a:gd name="T23" fmla="*/ 1151 h 1725"/>
                <a:gd name="T24" fmla="*/ 298 w 860"/>
                <a:gd name="T25" fmla="*/ 825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0" h="1725">
                  <a:moveTo>
                    <a:pt x="298" y="825"/>
                  </a:moveTo>
                  <a:cubicBezTo>
                    <a:pt x="308" y="707"/>
                    <a:pt x="233" y="741"/>
                    <a:pt x="233" y="601"/>
                  </a:cubicBezTo>
                  <a:cubicBezTo>
                    <a:pt x="234" y="479"/>
                    <a:pt x="352" y="412"/>
                    <a:pt x="354" y="346"/>
                  </a:cubicBezTo>
                  <a:cubicBezTo>
                    <a:pt x="356" y="279"/>
                    <a:pt x="293" y="245"/>
                    <a:pt x="290" y="208"/>
                  </a:cubicBezTo>
                  <a:cubicBezTo>
                    <a:pt x="282" y="106"/>
                    <a:pt x="358" y="16"/>
                    <a:pt x="460" y="8"/>
                  </a:cubicBezTo>
                  <a:cubicBezTo>
                    <a:pt x="562" y="0"/>
                    <a:pt x="651" y="76"/>
                    <a:pt x="660" y="178"/>
                  </a:cubicBezTo>
                  <a:cubicBezTo>
                    <a:pt x="663" y="216"/>
                    <a:pt x="639" y="224"/>
                    <a:pt x="638" y="282"/>
                  </a:cubicBezTo>
                  <a:cubicBezTo>
                    <a:pt x="636" y="340"/>
                    <a:pt x="846" y="430"/>
                    <a:pt x="828" y="551"/>
                  </a:cubicBezTo>
                  <a:cubicBezTo>
                    <a:pt x="809" y="672"/>
                    <a:pt x="702" y="728"/>
                    <a:pt x="709" y="874"/>
                  </a:cubicBezTo>
                  <a:cubicBezTo>
                    <a:pt x="714" y="983"/>
                    <a:pt x="860" y="1030"/>
                    <a:pt x="858" y="1209"/>
                  </a:cubicBezTo>
                  <a:cubicBezTo>
                    <a:pt x="855" y="1502"/>
                    <a:pt x="644" y="1725"/>
                    <a:pt x="377" y="1688"/>
                  </a:cubicBezTo>
                  <a:cubicBezTo>
                    <a:pt x="109" y="1650"/>
                    <a:pt x="0" y="1419"/>
                    <a:pt x="37" y="1151"/>
                  </a:cubicBezTo>
                  <a:cubicBezTo>
                    <a:pt x="62" y="973"/>
                    <a:pt x="288" y="942"/>
                    <a:pt x="298" y="825"/>
                  </a:cubicBezTo>
                  <a:close/>
                </a:path>
              </a:pathLst>
            </a:custGeom>
            <a:solidFill>
              <a:schemeClr val="accent6">
                <a:lumMod val="75000"/>
              </a:schemeClr>
            </a:solidFill>
            <a:ln>
              <a:noFill/>
            </a:ln>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09" name="Freeform 8">
              <a:extLst>
                <a:ext uri="{FF2B5EF4-FFF2-40B4-BE49-F238E27FC236}">
                  <a16:creationId xmlns:a16="http://schemas.microsoft.com/office/drawing/2014/main" id="{DEB2D452-A3E8-4E13-9887-A26671AE08C2}"/>
                </a:ext>
              </a:extLst>
            </p:cNvPr>
            <p:cNvSpPr>
              <a:spLocks/>
            </p:cNvSpPr>
            <p:nvPr/>
          </p:nvSpPr>
          <p:spPr bwMode="auto">
            <a:xfrm>
              <a:off x="3152352" y="4374812"/>
              <a:ext cx="441658" cy="4670532"/>
            </a:xfrm>
            <a:custGeom>
              <a:avLst/>
              <a:gdLst>
                <a:gd name="T0" fmla="*/ 88 w 127"/>
                <a:gd name="T1" fmla="*/ 0 h 1342"/>
                <a:gd name="T2" fmla="*/ 105 w 127"/>
                <a:gd name="T3" fmla="*/ 169 h 1342"/>
                <a:gd name="T4" fmla="*/ 115 w 127"/>
                <a:gd name="T5" fmla="*/ 338 h 1342"/>
                <a:gd name="T6" fmla="*/ 119 w 127"/>
                <a:gd name="T7" fmla="*/ 508 h 1342"/>
                <a:gd name="T8" fmla="*/ 116 w 127"/>
                <a:gd name="T9" fmla="*/ 677 h 1342"/>
                <a:gd name="T10" fmla="*/ 104 w 127"/>
                <a:gd name="T11" fmla="*/ 846 h 1342"/>
                <a:gd name="T12" fmla="*/ 83 w 127"/>
                <a:gd name="T13" fmla="*/ 1014 h 1342"/>
                <a:gd name="T14" fmla="*/ 49 w 127"/>
                <a:gd name="T15" fmla="*/ 1180 h 1342"/>
                <a:gd name="T16" fmla="*/ 0 w 127"/>
                <a:gd name="T17" fmla="*/ 1342 h 1342"/>
                <a:gd name="T18" fmla="*/ 52 w 127"/>
                <a:gd name="T19" fmla="*/ 1181 h 1342"/>
                <a:gd name="T20" fmla="*/ 88 w 127"/>
                <a:gd name="T21" fmla="*/ 1015 h 1342"/>
                <a:gd name="T22" fmla="*/ 111 w 127"/>
                <a:gd name="T23" fmla="*/ 847 h 1342"/>
                <a:gd name="T24" fmla="*/ 123 w 127"/>
                <a:gd name="T25" fmla="*/ 677 h 1342"/>
                <a:gd name="T26" fmla="*/ 121 w 127"/>
                <a:gd name="T27" fmla="*/ 338 h 1342"/>
                <a:gd name="T28" fmla="*/ 88 w 127"/>
                <a:gd name="T29" fmla="*/ 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1342">
                  <a:moveTo>
                    <a:pt x="88" y="0"/>
                  </a:moveTo>
                  <a:cubicBezTo>
                    <a:pt x="95" y="56"/>
                    <a:pt x="101" y="113"/>
                    <a:pt x="105" y="169"/>
                  </a:cubicBezTo>
                  <a:cubicBezTo>
                    <a:pt x="110" y="225"/>
                    <a:pt x="113" y="282"/>
                    <a:pt x="115" y="338"/>
                  </a:cubicBezTo>
                  <a:cubicBezTo>
                    <a:pt x="118" y="395"/>
                    <a:pt x="119" y="451"/>
                    <a:pt x="119" y="508"/>
                  </a:cubicBezTo>
                  <a:cubicBezTo>
                    <a:pt x="119" y="564"/>
                    <a:pt x="118" y="621"/>
                    <a:pt x="116" y="677"/>
                  </a:cubicBezTo>
                  <a:cubicBezTo>
                    <a:pt x="113" y="734"/>
                    <a:pt x="110" y="790"/>
                    <a:pt x="104" y="846"/>
                  </a:cubicBezTo>
                  <a:cubicBezTo>
                    <a:pt x="99" y="902"/>
                    <a:pt x="91" y="958"/>
                    <a:pt x="83" y="1014"/>
                  </a:cubicBezTo>
                  <a:cubicBezTo>
                    <a:pt x="74" y="1070"/>
                    <a:pt x="63" y="1125"/>
                    <a:pt x="49" y="1180"/>
                  </a:cubicBezTo>
                  <a:cubicBezTo>
                    <a:pt x="35" y="1235"/>
                    <a:pt x="19" y="1289"/>
                    <a:pt x="0" y="1342"/>
                  </a:cubicBezTo>
                  <a:cubicBezTo>
                    <a:pt x="20" y="1290"/>
                    <a:pt x="38" y="1236"/>
                    <a:pt x="52" y="1181"/>
                  </a:cubicBezTo>
                  <a:cubicBezTo>
                    <a:pt x="67" y="1126"/>
                    <a:pt x="78" y="1071"/>
                    <a:pt x="88" y="1015"/>
                  </a:cubicBezTo>
                  <a:cubicBezTo>
                    <a:pt x="98" y="959"/>
                    <a:pt x="105" y="903"/>
                    <a:pt x="111" y="847"/>
                  </a:cubicBezTo>
                  <a:cubicBezTo>
                    <a:pt x="116" y="790"/>
                    <a:pt x="120" y="734"/>
                    <a:pt x="123" y="677"/>
                  </a:cubicBezTo>
                  <a:cubicBezTo>
                    <a:pt x="127" y="564"/>
                    <a:pt x="127" y="451"/>
                    <a:pt x="121" y="338"/>
                  </a:cubicBezTo>
                  <a:cubicBezTo>
                    <a:pt x="115" y="225"/>
                    <a:pt x="105" y="112"/>
                    <a:pt x="8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0" name="Freeform 9">
              <a:extLst>
                <a:ext uri="{FF2B5EF4-FFF2-40B4-BE49-F238E27FC236}">
                  <a16:creationId xmlns:a16="http://schemas.microsoft.com/office/drawing/2014/main" id="{5B1031E9-C622-4EF4-9DA1-F5E4C5C35855}"/>
                </a:ext>
              </a:extLst>
            </p:cNvPr>
            <p:cNvSpPr>
              <a:spLocks/>
            </p:cNvSpPr>
            <p:nvPr/>
          </p:nvSpPr>
          <p:spPr bwMode="auto">
            <a:xfrm>
              <a:off x="3082422" y="4834871"/>
              <a:ext cx="467422" cy="441658"/>
            </a:xfrm>
            <a:custGeom>
              <a:avLst/>
              <a:gdLst>
                <a:gd name="T0" fmla="*/ 134 w 134"/>
                <a:gd name="T1" fmla="*/ 127 h 127"/>
                <a:gd name="T2" fmla="*/ 64 w 134"/>
                <a:gd name="T3" fmla="*/ 67 h 127"/>
                <a:gd name="T4" fmla="*/ 55 w 134"/>
                <a:gd name="T5" fmla="*/ 59 h 127"/>
                <a:gd name="T6" fmla="*/ 47 w 134"/>
                <a:gd name="T7" fmla="*/ 51 h 127"/>
                <a:gd name="T8" fmla="*/ 31 w 134"/>
                <a:gd name="T9" fmla="*/ 34 h 127"/>
                <a:gd name="T10" fmla="*/ 0 w 134"/>
                <a:gd name="T11" fmla="*/ 0 h 127"/>
                <a:gd name="T12" fmla="*/ 27 w 134"/>
                <a:gd name="T13" fmla="*/ 38 h 127"/>
                <a:gd name="T14" fmla="*/ 59 w 134"/>
                <a:gd name="T15" fmla="*/ 72 h 127"/>
                <a:gd name="T16" fmla="*/ 95 w 134"/>
                <a:gd name="T17" fmla="*/ 102 h 127"/>
                <a:gd name="T18" fmla="*/ 134 w 134"/>
                <a:gd name="T19"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27">
                  <a:moveTo>
                    <a:pt x="134" y="127"/>
                  </a:moveTo>
                  <a:cubicBezTo>
                    <a:pt x="110" y="107"/>
                    <a:pt x="86" y="88"/>
                    <a:pt x="64" y="67"/>
                  </a:cubicBezTo>
                  <a:cubicBezTo>
                    <a:pt x="55" y="59"/>
                    <a:pt x="55" y="59"/>
                    <a:pt x="55" y="59"/>
                  </a:cubicBezTo>
                  <a:cubicBezTo>
                    <a:pt x="47" y="51"/>
                    <a:pt x="47" y="51"/>
                    <a:pt x="47" y="51"/>
                  </a:cubicBezTo>
                  <a:cubicBezTo>
                    <a:pt x="42" y="46"/>
                    <a:pt x="36" y="40"/>
                    <a:pt x="31" y="34"/>
                  </a:cubicBezTo>
                  <a:cubicBezTo>
                    <a:pt x="20" y="23"/>
                    <a:pt x="10" y="12"/>
                    <a:pt x="0" y="0"/>
                  </a:cubicBezTo>
                  <a:cubicBezTo>
                    <a:pt x="8" y="13"/>
                    <a:pt x="17" y="26"/>
                    <a:pt x="27" y="38"/>
                  </a:cubicBezTo>
                  <a:cubicBezTo>
                    <a:pt x="37" y="50"/>
                    <a:pt x="47" y="61"/>
                    <a:pt x="59" y="72"/>
                  </a:cubicBezTo>
                  <a:cubicBezTo>
                    <a:pt x="70" y="83"/>
                    <a:pt x="82" y="93"/>
                    <a:pt x="95" y="102"/>
                  </a:cubicBezTo>
                  <a:cubicBezTo>
                    <a:pt x="107" y="111"/>
                    <a:pt x="120" y="120"/>
                    <a:pt x="134"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1" name="Freeform 10">
              <a:extLst>
                <a:ext uri="{FF2B5EF4-FFF2-40B4-BE49-F238E27FC236}">
                  <a16:creationId xmlns:a16="http://schemas.microsoft.com/office/drawing/2014/main" id="{D0EAB525-EB88-4BC1-A4EE-FF62D5BE0D4D}"/>
                </a:ext>
              </a:extLst>
            </p:cNvPr>
            <p:cNvSpPr>
              <a:spLocks/>
            </p:cNvSpPr>
            <p:nvPr/>
          </p:nvSpPr>
          <p:spPr bwMode="auto">
            <a:xfrm>
              <a:off x="3100825" y="5044660"/>
              <a:ext cx="463741" cy="441658"/>
            </a:xfrm>
            <a:custGeom>
              <a:avLst/>
              <a:gdLst>
                <a:gd name="T0" fmla="*/ 134 w 134"/>
                <a:gd name="T1" fmla="*/ 127 h 127"/>
                <a:gd name="T2" fmla="*/ 64 w 134"/>
                <a:gd name="T3" fmla="*/ 67 h 127"/>
                <a:gd name="T4" fmla="*/ 55 w 134"/>
                <a:gd name="T5" fmla="*/ 59 h 127"/>
                <a:gd name="T6" fmla="*/ 47 w 134"/>
                <a:gd name="T7" fmla="*/ 51 h 127"/>
                <a:gd name="T8" fmla="*/ 31 w 134"/>
                <a:gd name="T9" fmla="*/ 34 h 127"/>
                <a:gd name="T10" fmla="*/ 0 w 134"/>
                <a:gd name="T11" fmla="*/ 0 h 127"/>
                <a:gd name="T12" fmla="*/ 27 w 134"/>
                <a:gd name="T13" fmla="*/ 38 h 127"/>
                <a:gd name="T14" fmla="*/ 59 w 134"/>
                <a:gd name="T15" fmla="*/ 72 h 127"/>
                <a:gd name="T16" fmla="*/ 95 w 134"/>
                <a:gd name="T17" fmla="*/ 102 h 127"/>
                <a:gd name="T18" fmla="*/ 134 w 134"/>
                <a:gd name="T19"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27">
                  <a:moveTo>
                    <a:pt x="134" y="127"/>
                  </a:moveTo>
                  <a:cubicBezTo>
                    <a:pt x="110" y="107"/>
                    <a:pt x="86" y="87"/>
                    <a:pt x="64" y="67"/>
                  </a:cubicBezTo>
                  <a:cubicBezTo>
                    <a:pt x="55" y="59"/>
                    <a:pt x="55" y="59"/>
                    <a:pt x="55" y="59"/>
                  </a:cubicBezTo>
                  <a:cubicBezTo>
                    <a:pt x="47" y="51"/>
                    <a:pt x="47" y="51"/>
                    <a:pt x="47" y="51"/>
                  </a:cubicBezTo>
                  <a:cubicBezTo>
                    <a:pt x="41" y="45"/>
                    <a:pt x="36" y="40"/>
                    <a:pt x="31" y="34"/>
                  </a:cubicBezTo>
                  <a:cubicBezTo>
                    <a:pt x="20" y="23"/>
                    <a:pt x="10" y="11"/>
                    <a:pt x="0" y="0"/>
                  </a:cubicBezTo>
                  <a:cubicBezTo>
                    <a:pt x="8" y="13"/>
                    <a:pt x="17" y="26"/>
                    <a:pt x="27" y="38"/>
                  </a:cubicBezTo>
                  <a:cubicBezTo>
                    <a:pt x="37" y="50"/>
                    <a:pt x="47" y="61"/>
                    <a:pt x="59" y="72"/>
                  </a:cubicBezTo>
                  <a:cubicBezTo>
                    <a:pt x="70" y="82"/>
                    <a:pt x="82" y="92"/>
                    <a:pt x="95" y="102"/>
                  </a:cubicBezTo>
                  <a:cubicBezTo>
                    <a:pt x="107" y="111"/>
                    <a:pt x="120" y="119"/>
                    <a:pt x="134"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2" name="Freeform 11">
              <a:extLst>
                <a:ext uri="{FF2B5EF4-FFF2-40B4-BE49-F238E27FC236}">
                  <a16:creationId xmlns:a16="http://schemas.microsoft.com/office/drawing/2014/main" id="{D4495D06-825A-444E-9187-DE0395CDCE53}"/>
                </a:ext>
              </a:extLst>
            </p:cNvPr>
            <p:cNvSpPr>
              <a:spLocks/>
            </p:cNvSpPr>
            <p:nvPr/>
          </p:nvSpPr>
          <p:spPr bwMode="auto">
            <a:xfrm>
              <a:off x="3104505" y="6277620"/>
              <a:ext cx="463741" cy="441658"/>
            </a:xfrm>
            <a:custGeom>
              <a:avLst/>
              <a:gdLst>
                <a:gd name="T0" fmla="*/ 134 w 134"/>
                <a:gd name="T1" fmla="*/ 127 h 127"/>
                <a:gd name="T2" fmla="*/ 64 w 134"/>
                <a:gd name="T3" fmla="*/ 67 h 127"/>
                <a:gd name="T4" fmla="*/ 55 w 134"/>
                <a:gd name="T5" fmla="*/ 59 h 127"/>
                <a:gd name="T6" fmla="*/ 47 w 134"/>
                <a:gd name="T7" fmla="*/ 51 h 127"/>
                <a:gd name="T8" fmla="*/ 31 w 134"/>
                <a:gd name="T9" fmla="*/ 34 h 127"/>
                <a:gd name="T10" fmla="*/ 0 w 134"/>
                <a:gd name="T11" fmla="*/ 0 h 127"/>
                <a:gd name="T12" fmla="*/ 27 w 134"/>
                <a:gd name="T13" fmla="*/ 38 h 127"/>
                <a:gd name="T14" fmla="*/ 59 w 134"/>
                <a:gd name="T15" fmla="*/ 72 h 127"/>
                <a:gd name="T16" fmla="*/ 95 w 134"/>
                <a:gd name="T17" fmla="*/ 102 h 127"/>
                <a:gd name="T18" fmla="*/ 134 w 134"/>
                <a:gd name="T19"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27">
                  <a:moveTo>
                    <a:pt x="134" y="127"/>
                  </a:moveTo>
                  <a:cubicBezTo>
                    <a:pt x="110" y="107"/>
                    <a:pt x="86" y="88"/>
                    <a:pt x="64" y="67"/>
                  </a:cubicBezTo>
                  <a:cubicBezTo>
                    <a:pt x="55" y="59"/>
                    <a:pt x="55" y="59"/>
                    <a:pt x="55" y="59"/>
                  </a:cubicBezTo>
                  <a:cubicBezTo>
                    <a:pt x="47" y="51"/>
                    <a:pt x="47" y="51"/>
                    <a:pt x="47" y="51"/>
                  </a:cubicBezTo>
                  <a:cubicBezTo>
                    <a:pt x="42" y="45"/>
                    <a:pt x="36" y="40"/>
                    <a:pt x="31" y="34"/>
                  </a:cubicBezTo>
                  <a:cubicBezTo>
                    <a:pt x="20" y="23"/>
                    <a:pt x="10" y="12"/>
                    <a:pt x="0" y="0"/>
                  </a:cubicBezTo>
                  <a:cubicBezTo>
                    <a:pt x="8" y="13"/>
                    <a:pt x="17" y="26"/>
                    <a:pt x="27" y="38"/>
                  </a:cubicBezTo>
                  <a:cubicBezTo>
                    <a:pt x="37" y="50"/>
                    <a:pt x="47" y="61"/>
                    <a:pt x="59" y="72"/>
                  </a:cubicBezTo>
                  <a:cubicBezTo>
                    <a:pt x="70" y="82"/>
                    <a:pt x="82" y="92"/>
                    <a:pt x="95" y="102"/>
                  </a:cubicBezTo>
                  <a:cubicBezTo>
                    <a:pt x="107" y="111"/>
                    <a:pt x="120" y="120"/>
                    <a:pt x="134" y="1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3" name="Freeform 12">
              <a:extLst>
                <a:ext uri="{FF2B5EF4-FFF2-40B4-BE49-F238E27FC236}">
                  <a16:creationId xmlns:a16="http://schemas.microsoft.com/office/drawing/2014/main" id="{87FE61AA-2470-4D43-9DDC-B14032CA9C3C}"/>
                </a:ext>
              </a:extLst>
            </p:cNvPr>
            <p:cNvSpPr>
              <a:spLocks/>
            </p:cNvSpPr>
            <p:nvPr/>
          </p:nvSpPr>
          <p:spPr bwMode="auto">
            <a:xfrm>
              <a:off x="3093464" y="6461644"/>
              <a:ext cx="463741" cy="445339"/>
            </a:xfrm>
            <a:custGeom>
              <a:avLst/>
              <a:gdLst>
                <a:gd name="T0" fmla="*/ 134 w 134"/>
                <a:gd name="T1" fmla="*/ 128 h 128"/>
                <a:gd name="T2" fmla="*/ 64 w 134"/>
                <a:gd name="T3" fmla="*/ 67 h 128"/>
                <a:gd name="T4" fmla="*/ 55 w 134"/>
                <a:gd name="T5" fmla="*/ 60 h 128"/>
                <a:gd name="T6" fmla="*/ 47 w 134"/>
                <a:gd name="T7" fmla="*/ 52 h 128"/>
                <a:gd name="T8" fmla="*/ 31 w 134"/>
                <a:gd name="T9" fmla="*/ 35 h 128"/>
                <a:gd name="T10" fmla="*/ 0 w 134"/>
                <a:gd name="T11" fmla="*/ 0 h 128"/>
                <a:gd name="T12" fmla="*/ 27 w 134"/>
                <a:gd name="T13" fmla="*/ 39 h 128"/>
                <a:gd name="T14" fmla="*/ 59 w 134"/>
                <a:gd name="T15" fmla="*/ 73 h 128"/>
                <a:gd name="T16" fmla="*/ 95 w 134"/>
                <a:gd name="T17" fmla="*/ 102 h 128"/>
                <a:gd name="T18" fmla="*/ 134 w 134"/>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128">
                  <a:moveTo>
                    <a:pt x="134" y="128"/>
                  </a:moveTo>
                  <a:cubicBezTo>
                    <a:pt x="110" y="108"/>
                    <a:pt x="86" y="88"/>
                    <a:pt x="64" y="67"/>
                  </a:cubicBezTo>
                  <a:cubicBezTo>
                    <a:pt x="55" y="60"/>
                    <a:pt x="55" y="60"/>
                    <a:pt x="55" y="60"/>
                  </a:cubicBezTo>
                  <a:cubicBezTo>
                    <a:pt x="47" y="52"/>
                    <a:pt x="47" y="52"/>
                    <a:pt x="47" y="52"/>
                  </a:cubicBezTo>
                  <a:cubicBezTo>
                    <a:pt x="42" y="46"/>
                    <a:pt x="36" y="41"/>
                    <a:pt x="31" y="35"/>
                  </a:cubicBezTo>
                  <a:cubicBezTo>
                    <a:pt x="20" y="24"/>
                    <a:pt x="10" y="12"/>
                    <a:pt x="0" y="0"/>
                  </a:cubicBezTo>
                  <a:cubicBezTo>
                    <a:pt x="8" y="14"/>
                    <a:pt x="17" y="27"/>
                    <a:pt x="27" y="39"/>
                  </a:cubicBezTo>
                  <a:cubicBezTo>
                    <a:pt x="37" y="51"/>
                    <a:pt x="48" y="62"/>
                    <a:pt x="59" y="73"/>
                  </a:cubicBezTo>
                  <a:cubicBezTo>
                    <a:pt x="70" y="83"/>
                    <a:pt x="82" y="93"/>
                    <a:pt x="95" y="102"/>
                  </a:cubicBezTo>
                  <a:cubicBezTo>
                    <a:pt x="107" y="112"/>
                    <a:pt x="120" y="120"/>
                    <a:pt x="134" y="12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4" name="Freeform 13">
              <a:extLst>
                <a:ext uri="{FF2B5EF4-FFF2-40B4-BE49-F238E27FC236}">
                  <a16:creationId xmlns:a16="http://schemas.microsoft.com/office/drawing/2014/main" id="{10485897-DF02-4AFB-B459-145503E512EB}"/>
                </a:ext>
              </a:extLst>
            </p:cNvPr>
            <p:cNvSpPr>
              <a:spLocks/>
            </p:cNvSpPr>
            <p:nvPr/>
          </p:nvSpPr>
          <p:spPr bwMode="auto">
            <a:xfrm>
              <a:off x="3575606" y="5589371"/>
              <a:ext cx="736096" cy="449019"/>
            </a:xfrm>
            <a:custGeom>
              <a:avLst/>
              <a:gdLst>
                <a:gd name="T0" fmla="*/ 211 w 211"/>
                <a:gd name="T1" fmla="*/ 0 h 129"/>
                <a:gd name="T2" fmla="*/ 162 w 211"/>
                <a:gd name="T3" fmla="*/ 39 h 129"/>
                <a:gd name="T4" fmla="*/ 111 w 211"/>
                <a:gd name="T5" fmla="*/ 73 h 129"/>
                <a:gd name="T6" fmla="*/ 85 w 211"/>
                <a:gd name="T7" fmla="*/ 89 h 129"/>
                <a:gd name="T8" fmla="*/ 71 w 211"/>
                <a:gd name="T9" fmla="*/ 97 h 129"/>
                <a:gd name="T10" fmla="*/ 64 w 211"/>
                <a:gd name="T11" fmla="*/ 100 h 129"/>
                <a:gd name="T12" fmla="*/ 57 w 211"/>
                <a:gd name="T13" fmla="*/ 104 h 129"/>
                <a:gd name="T14" fmla="*/ 43 w 211"/>
                <a:gd name="T15" fmla="*/ 110 h 129"/>
                <a:gd name="T16" fmla="*/ 29 w 211"/>
                <a:gd name="T17" fmla="*/ 117 h 129"/>
                <a:gd name="T18" fmla="*/ 22 w 211"/>
                <a:gd name="T19" fmla="*/ 120 h 129"/>
                <a:gd name="T20" fmla="*/ 15 w 211"/>
                <a:gd name="T21" fmla="*/ 123 h 129"/>
                <a:gd name="T22" fmla="*/ 0 w 211"/>
                <a:gd name="T23" fmla="*/ 129 h 129"/>
                <a:gd name="T24" fmla="*/ 59 w 211"/>
                <a:gd name="T25" fmla="*/ 109 h 129"/>
                <a:gd name="T26" fmla="*/ 67 w 211"/>
                <a:gd name="T27" fmla="*/ 106 h 129"/>
                <a:gd name="T28" fmla="*/ 74 w 211"/>
                <a:gd name="T29" fmla="*/ 102 h 129"/>
                <a:gd name="T30" fmla="*/ 88 w 211"/>
                <a:gd name="T31" fmla="*/ 95 h 129"/>
                <a:gd name="T32" fmla="*/ 115 w 211"/>
                <a:gd name="T33" fmla="*/ 80 h 129"/>
                <a:gd name="T34" fmla="*/ 166 w 211"/>
                <a:gd name="T35" fmla="*/ 43 h 129"/>
                <a:gd name="T36" fmla="*/ 211 w 211"/>
                <a:gd name="T37"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1" h="129">
                  <a:moveTo>
                    <a:pt x="211" y="0"/>
                  </a:moveTo>
                  <a:cubicBezTo>
                    <a:pt x="195" y="14"/>
                    <a:pt x="179" y="26"/>
                    <a:pt x="162" y="39"/>
                  </a:cubicBezTo>
                  <a:cubicBezTo>
                    <a:pt x="146" y="51"/>
                    <a:pt x="129" y="63"/>
                    <a:pt x="111" y="73"/>
                  </a:cubicBezTo>
                  <a:cubicBezTo>
                    <a:pt x="102" y="79"/>
                    <a:pt x="93" y="84"/>
                    <a:pt x="85" y="89"/>
                  </a:cubicBezTo>
                  <a:cubicBezTo>
                    <a:pt x="71" y="97"/>
                    <a:pt x="71" y="97"/>
                    <a:pt x="71" y="97"/>
                  </a:cubicBezTo>
                  <a:cubicBezTo>
                    <a:pt x="64" y="100"/>
                    <a:pt x="64" y="100"/>
                    <a:pt x="64" y="100"/>
                  </a:cubicBezTo>
                  <a:cubicBezTo>
                    <a:pt x="57" y="104"/>
                    <a:pt x="57" y="104"/>
                    <a:pt x="57" y="104"/>
                  </a:cubicBezTo>
                  <a:cubicBezTo>
                    <a:pt x="43" y="110"/>
                    <a:pt x="43" y="110"/>
                    <a:pt x="43" y="110"/>
                  </a:cubicBezTo>
                  <a:cubicBezTo>
                    <a:pt x="29" y="117"/>
                    <a:pt x="29" y="117"/>
                    <a:pt x="29" y="117"/>
                  </a:cubicBezTo>
                  <a:cubicBezTo>
                    <a:pt x="27" y="118"/>
                    <a:pt x="24" y="119"/>
                    <a:pt x="22" y="120"/>
                  </a:cubicBezTo>
                  <a:cubicBezTo>
                    <a:pt x="15" y="123"/>
                    <a:pt x="15" y="123"/>
                    <a:pt x="15" y="123"/>
                  </a:cubicBezTo>
                  <a:cubicBezTo>
                    <a:pt x="10" y="125"/>
                    <a:pt x="5" y="127"/>
                    <a:pt x="0" y="129"/>
                  </a:cubicBezTo>
                  <a:cubicBezTo>
                    <a:pt x="20" y="124"/>
                    <a:pt x="40" y="117"/>
                    <a:pt x="59" y="109"/>
                  </a:cubicBezTo>
                  <a:cubicBezTo>
                    <a:pt x="67" y="106"/>
                    <a:pt x="67" y="106"/>
                    <a:pt x="67" y="106"/>
                  </a:cubicBezTo>
                  <a:cubicBezTo>
                    <a:pt x="74" y="102"/>
                    <a:pt x="74" y="102"/>
                    <a:pt x="74" y="102"/>
                  </a:cubicBezTo>
                  <a:cubicBezTo>
                    <a:pt x="88" y="95"/>
                    <a:pt x="88" y="95"/>
                    <a:pt x="88" y="95"/>
                  </a:cubicBezTo>
                  <a:cubicBezTo>
                    <a:pt x="97" y="90"/>
                    <a:pt x="106" y="85"/>
                    <a:pt x="115" y="80"/>
                  </a:cubicBezTo>
                  <a:cubicBezTo>
                    <a:pt x="133" y="68"/>
                    <a:pt x="150" y="56"/>
                    <a:pt x="166" y="43"/>
                  </a:cubicBezTo>
                  <a:cubicBezTo>
                    <a:pt x="182" y="30"/>
                    <a:pt x="197" y="16"/>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5" name="Freeform 14">
              <a:extLst>
                <a:ext uri="{FF2B5EF4-FFF2-40B4-BE49-F238E27FC236}">
                  <a16:creationId xmlns:a16="http://schemas.microsoft.com/office/drawing/2014/main" id="{5C010323-3C52-408E-8BC6-A84923307D0C}"/>
                </a:ext>
              </a:extLst>
            </p:cNvPr>
            <p:cNvSpPr>
              <a:spLocks/>
            </p:cNvSpPr>
            <p:nvPr/>
          </p:nvSpPr>
          <p:spPr bwMode="auto">
            <a:xfrm>
              <a:off x="3575606" y="5556245"/>
              <a:ext cx="942203" cy="610960"/>
            </a:xfrm>
            <a:custGeom>
              <a:avLst/>
              <a:gdLst>
                <a:gd name="T0" fmla="*/ 271 w 271"/>
                <a:gd name="T1" fmla="*/ 0 h 176"/>
                <a:gd name="T2" fmla="*/ 239 w 271"/>
                <a:gd name="T3" fmla="*/ 26 h 176"/>
                <a:gd name="T4" fmla="*/ 223 w 271"/>
                <a:gd name="T5" fmla="*/ 38 h 176"/>
                <a:gd name="T6" fmla="*/ 207 w 271"/>
                <a:gd name="T7" fmla="*/ 51 h 176"/>
                <a:gd name="T8" fmla="*/ 191 w 271"/>
                <a:gd name="T9" fmla="*/ 63 h 176"/>
                <a:gd name="T10" fmla="*/ 175 w 271"/>
                <a:gd name="T11" fmla="*/ 75 h 176"/>
                <a:gd name="T12" fmla="*/ 159 w 271"/>
                <a:gd name="T13" fmla="*/ 87 h 176"/>
                <a:gd name="T14" fmla="*/ 142 w 271"/>
                <a:gd name="T15" fmla="*/ 98 h 176"/>
                <a:gd name="T16" fmla="*/ 125 w 271"/>
                <a:gd name="T17" fmla="*/ 110 h 176"/>
                <a:gd name="T18" fmla="*/ 117 w 271"/>
                <a:gd name="T19" fmla="*/ 115 h 176"/>
                <a:gd name="T20" fmla="*/ 108 w 271"/>
                <a:gd name="T21" fmla="*/ 120 h 176"/>
                <a:gd name="T22" fmla="*/ 91 w 271"/>
                <a:gd name="T23" fmla="*/ 131 h 176"/>
                <a:gd name="T24" fmla="*/ 73 w 271"/>
                <a:gd name="T25" fmla="*/ 141 h 176"/>
                <a:gd name="T26" fmla="*/ 0 w 271"/>
                <a:gd name="T27" fmla="*/ 176 h 176"/>
                <a:gd name="T28" fmla="*/ 76 w 271"/>
                <a:gd name="T29" fmla="*/ 146 h 176"/>
                <a:gd name="T30" fmla="*/ 146 w 271"/>
                <a:gd name="T31" fmla="*/ 104 h 176"/>
                <a:gd name="T32" fmla="*/ 211 w 271"/>
                <a:gd name="T33" fmla="*/ 55 h 176"/>
                <a:gd name="T34" fmla="*/ 271 w 271"/>
                <a:gd name="T3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1" h="176">
                  <a:moveTo>
                    <a:pt x="271" y="0"/>
                  </a:moveTo>
                  <a:cubicBezTo>
                    <a:pt x="260" y="9"/>
                    <a:pt x="250" y="17"/>
                    <a:pt x="239" y="26"/>
                  </a:cubicBezTo>
                  <a:cubicBezTo>
                    <a:pt x="234" y="30"/>
                    <a:pt x="229" y="34"/>
                    <a:pt x="223" y="38"/>
                  </a:cubicBezTo>
                  <a:cubicBezTo>
                    <a:pt x="218" y="42"/>
                    <a:pt x="213" y="46"/>
                    <a:pt x="207" y="51"/>
                  </a:cubicBezTo>
                  <a:cubicBezTo>
                    <a:pt x="202" y="55"/>
                    <a:pt x="197" y="59"/>
                    <a:pt x="191" y="63"/>
                  </a:cubicBezTo>
                  <a:cubicBezTo>
                    <a:pt x="186" y="67"/>
                    <a:pt x="180" y="71"/>
                    <a:pt x="175" y="75"/>
                  </a:cubicBezTo>
                  <a:cubicBezTo>
                    <a:pt x="159" y="87"/>
                    <a:pt x="159" y="87"/>
                    <a:pt x="159" y="87"/>
                  </a:cubicBezTo>
                  <a:cubicBezTo>
                    <a:pt x="142" y="98"/>
                    <a:pt x="142" y="98"/>
                    <a:pt x="142" y="98"/>
                  </a:cubicBezTo>
                  <a:cubicBezTo>
                    <a:pt x="136" y="102"/>
                    <a:pt x="131" y="106"/>
                    <a:pt x="125" y="110"/>
                  </a:cubicBezTo>
                  <a:cubicBezTo>
                    <a:pt x="117" y="115"/>
                    <a:pt x="117" y="115"/>
                    <a:pt x="117" y="115"/>
                  </a:cubicBezTo>
                  <a:cubicBezTo>
                    <a:pt x="108" y="120"/>
                    <a:pt x="108" y="120"/>
                    <a:pt x="108" y="120"/>
                  </a:cubicBezTo>
                  <a:cubicBezTo>
                    <a:pt x="102" y="124"/>
                    <a:pt x="97" y="128"/>
                    <a:pt x="91" y="131"/>
                  </a:cubicBezTo>
                  <a:cubicBezTo>
                    <a:pt x="73" y="141"/>
                    <a:pt x="73" y="141"/>
                    <a:pt x="73" y="141"/>
                  </a:cubicBezTo>
                  <a:cubicBezTo>
                    <a:pt x="50" y="154"/>
                    <a:pt x="26" y="166"/>
                    <a:pt x="0" y="176"/>
                  </a:cubicBezTo>
                  <a:cubicBezTo>
                    <a:pt x="27" y="169"/>
                    <a:pt x="52" y="159"/>
                    <a:pt x="76" y="146"/>
                  </a:cubicBezTo>
                  <a:cubicBezTo>
                    <a:pt x="100" y="134"/>
                    <a:pt x="123" y="119"/>
                    <a:pt x="146" y="104"/>
                  </a:cubicBezTo>
                  <a:cubicBezTo>
                    <a:pt x="168" y="89"/>
                    <a:pt x="190" y="72"/>
                    <a:pt x="211" y="55"/>
                  </a:cubicBezTo>
                  <a:cubicBezTo>
                    <a:pt x="232" y="38"/>
                    <a:pt x="252" y="19"/>
                    <a:pt x="27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6" name="Freeform 15">
              <a:extLst>
                <a:ext uri="{FF2B5EF4-FFF2-40B4-BE49-F238E27FC236}">
                  <a16:creationId xmlns:a16="http://schemas.microsoft.com/office/drawing/2014/main" id="{3AC4DE53-1DEF-4886-8078-733FC2BD12D5}"/>
                </a:ext>
              </a:extLst>
            </p:cNvPr>
            <p:cNvSpPr>
              <a:spLocks/>
            </p:cNvSpPr>
            <p:nvPr/>
          </p:nvSpPr>
          <p:spPr bwMode="auto">
            <a:xfrm>
              <a:off x="3457831" y="7370724"/>
              <a:ext cx="857553" cy="493184"/>
            </a:xfrm>
            <a:custGeom>
              <a:avLst/>
              <a:gdLst>
                <a:gd name="T0" fmla="*/ 246 w 246"/>
                <a:gd name="T1" fmla="*/ 0 h 141"/>
                <a:gd name="T2" fmla="*/ 196 w 246"/>
                <a:gd name="T3" fmla="*/ 52 h 141"/>
                <a:gd name="T4" fmla="*/ 189 w 246"/>
                <a:gd name="T5" fmla="*/ 58 h 141"/>
                <a:gd name="T6" fmla="*/ 182 w 246"/>
                <a:gd name="T7" fmla="*/ 64 h 141"/>
                <a:gd name="T8" fmla="*/ 167 w 246"/>
                <a:gd name="T9" fmla="*/ 74 h 141"/>
                <a:gd name="T10" fmla="*/ 152 w 246"/>
                <a:gd name="T11" fmla="*/ 84 h 141"/>
                <a:gd name="T12" fmla="*/ 136 w 246"/>
                <a:gd name="T13" fmla="*/ 93 h 141"/>
                <a:gd name="T14" fmla="*/ 120 w 246"/>
                <a:gd name="T15" fmla="*/ 101 h 141"/>
                <a:gd name="T16" fmla="*/ 112 w 246"/>
                <a:gd name="T17" fmla="*/ 106 h 141"/>
                <a:gd name="T18" fmla="*/ 104 w 246"/>
                <a:gd name="T19" fmla="*/ 109 h 141"/>
                <a:gd name="T20" fmla="*/ 87 w 246"/>
                <a:gd name="T21" fmla="*/ 116 h 141"/>
                <a:gd name="T22" fmla="*/ 70 w 246"/>
                <a:gd name="T23" fmla="*/ 122 h 141"/>
                <a:gd name="T24" fmla="*/ 62 w 246"/>
                <a:gd name="T25" fmla="*/ 125 h 141"/>
                <a:gd name="T26" fmla="*/ 53 w 246"/>
                <a:gd name="T27" fmla="*/ 128 h 141"/>
                <a:gd name="T28" fmla="*/ 36 w 246"/>
                <a:gd name="T29" fmla="*/ 133 h 141"/>
                <a:gd name="T30" fmla="*/ 0 w 246"/>
                <a:gd name="T31" fmla="*/ 141 h 141"/>
                <a:gd name="T32" fmla="*/ 18 w 246"/>
                <a:gd name="T33" fmla="*/ 139 h 141"/>
                <a:gd name="T34" fmla="*/ 27 w 246"/>
                <a:gd name="T35" fmla="*/ 138 h 141"/>
                <a:gd name="T36" fmla="*/ 36 w 246"/>
                <a:gd name="T37" fmla="*/ 136 h 141"/>
                <a:gd name="T38" fmla="*/ 54 w 246"/>
                <a:gd name="T39" fmla="*/ 132 h 141"/>
                <a:gd name="T40" fmla="*/ 63 w 246"/>
                <a:gd name="T41" fmla="*/ 130 h 141"/>
                <a:gd name="T42" fmla="*/ 72 w 246"/>
                <a:gd name="T43" fmla="*/ 128 h 141"/>
                <a:gd name="T44" fmla="*/ 89 w 246"/>
                <a:gd name="T45" fmla="*/ 122 h 141"/>
                <a:gd name="T46" fmla="*/ 107 w 246"/>
                <a:gd name="T47" fmla="*/ 115 h 141"/>
                <a:gd name="T48" fmla="*/ 115 w 246"/>
                <a:gd name="T49" fmla="*/ 112 h 141"/>
                <a:gd name="T50" fmla="*/ 123 w 246"/>
                <a:gd name="T51" fmla="*/ 108 h 141"/>
                <a:gd name="T52" fmla="*/ 140 w 246"/>
                <a:gd name="T53" fmla="*/ 99 h 141"/>
                <a:gd name="T54" fmla="*/ 199 w 246"/>
                <a:gd name="T55" fmla="*/ 56 h 141"/>
                <a:gd name="T56" fmla="*/ 246 w 246"/>
                <a:gd name="T5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6" h="141">
                  <a:moveTo>
                    <a:pt x="246" y="0"/>
                  </a:moveTo>
                  <a:cubicBezTo>
                    <a:pt x="232" y="20"/>
                    <a:pt x="214" y="37"/>
                    <a:pt x="196" y="52"/>
                  </a:cubicBezTo>
                  <a:cubicBezTo>
                    <a:pt x="189" y="58"/>
                    <a:pt x="189" y="58"/>
                    <a:pt x="189" y="58"/>
                  </a:cubicBezTo>
                  <a:cubicBezTo>
                    <a:pt x="186" y="60"/>
                    <a:pt x="184" y="62"/>
                    <a:pt x="182" y="64"/>
                  </a:cubicBezTo>
                  <a:cubicBezTo>
                    <a:pt x="177" y="67"/>
                    <a:pt x="172" y="71"/>
                    <a:pt x="167" y="74"/>
                  </a:cubicBezTo>
                  <a:cubicBezTo>
                    <a:pt x="162" y="77"/>
                    <a:pt x="157" y="81"/>
                    <a:pt x="152" y="84"/>
                  </a:cubicBezTo>
                  <a:cubicBezTo>
                    <a:pt x="136" y="93"/>
                    <a:pt x="136" y="93"/>
                    <a:pt x="136" y="93"/>
                  </a:cubicBezTo>
                  <a:cubicBezTo>
                    <a:pt x="131" y="96"/>
                    <a:pt x="126" y="99"/>
                    <a:pt x="120" y="101"/>
                  </a:cubicBezTo>
                  <a:cubicBezTo>
                    <a:pt x="112" y="106"/>
                    <a:pt x="112" y="106"/>
                    <a:pt x="112" y="106"/>
                  </a:cubicBezTo>
                  <a:cubicBezTo>
                    <a:pt x="104" y="109"/>
                    <a:pt x="104" y="109"/>
                    <a:pt x="104" y="109"/>
                  </a:cubicBezTo>
                  <a:cubicBezTo>
                    <a:pt x="98" y="111"/>
                    <a:pt x="93" y="114"/>
                    <a:pt x="87" y="116"/>
                  </a:cubicBezTo>
                  <a:cubicBezTo>
                    <a:pt x="70" y="122"/>
                    <a:pt x="70" y="122"/>
                    <a:pt x="70" y="122"/>
                  </a:cubicBezTo>
                  <a:cubicBezTo>
                    <a:pt x="62" y="125"/>
                    <a:pt x="62" y="125"/>
                    <a:pt x="62" y="125"/>
                  </a:cubicBezTo>
                  <a:cubicBezTo>
                    <a:pt x="53" y="128"/>
                    <a:pt x="53" y="128"/>
                    <a:pt x="53" y="128"/>
                  </a:cubicBezTo>
                  <a:cubicBezTo>
                    <a:pt x="36" y="133"/>
                    <a:pt x="36" y="133"/>
                    <a:pt x="36" y="133"/>
                  </a:cubicBezTo>
                  <a:cubicBezTo>
                    <a:pt x="24" y="136"/>
                    <a:pt x="12" y="138"/>
                    <a:pt x="0" y="141"/>
                  </a:cubicBezTo>
                  <a:cubicBezTo>
                    <a:pt x="6" y="141"/>
                    <a:pt x="12" y="140"/>
                    <a:pt x="18" y="139"/>
                  </a:cubicBezTo>
                  <a:cubicBezTo>
                    <a:pt x="27" y="138"/>
                    <a:pt x="27" y="138"/>
                    <a:pt x="27" y="138"/>
                  </a:cubicBezTo>
                  <a:cubicBezTo>
                    <a:pt x="30" y="138"/>
                    <a:pt x="33" y="137"/>
                    <a:pt x="36" y="136"/>
                  </a:cubicBezTo>
                  <a:cubicBezTo>
                    <a:pt x="54" y="132"/>
                    <a:pt x="54" y="132"/>
                    <a:pt x="54" y="132"/>
                  </a:cubicBezTo>
                  <a:cubicBezTo>
                    <a:pt x="57" y="132"/>
                    <a:pt x="60" y="131"/>
                    <a:pt x="63" y="130"/>
                  </a:cubicBezTo>
                  <a:cubicBezTo>
                    <a:pt x="72" y="128"/>
                    <a:pt x="72" y="128"/>
                    <a:pt x="72" y="128"/>
                  </a:cubicBezTo>
                  <a:cubicBezTo>
                    <a:pt x="89" y="122"/>
                    <a:pt x="89" y="122"/>
                    <a:pt x="89" y="122"/>
                  </a:cubicBezTo>
                  <a:cubicBezTo>
                    <a:pt x="95" y="120"/>
                    <a:pt x="101" y="118"/>
                    <a:pt x="107" y="115"/>
                  </a:cubicBezTo>
                  <a:cubicBezTo>
                    <a:pt x="115" y="112"/>
                    <a:pt x="115" y="112"/>
                    <a:pt x="115" y="112"/>
                  </a:cubicBezTo>
                  <a:cubicBezTo>
                    <a:pt x="123" y="108"/>
                    <a:pt x="123" y="108"/>
                    <a:pt x="123" y="108"/>
                  </a:cubicBezTo>
                  <a:cubicBezTo>
                    <a:pt x="129" y="105"/>
                    <a:pt x="134" y="102"/>
                    <a:pt x="140" y="99"/>
                  </a:cubicBezTo>
                  <a:cubicBezTo>
                    <a:pt x="161" y="87"/>
                    <a:pt x="181" y="73"/>
                    <a:pt x="199" y="56"/>
                  </a:cubicBezTo>
                  <a:cubicBezTo>
                    <a:pt x="218" y="40"/>
                    <a:pt x="234" y="21"/>
                    <a:pt x="24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7" name="Freeform 16">
              <a:extLst>
                <a:ext uri="{FF2B5EF4-FFF2-40B4-BE49-F238E27FC236}">
                  <a16:creationId xmlns:a16="http://schemas.microsoft.com/office/drawing/2014/main" id="{37596F75-4225-4B7C-8A1D-BDF2FBCD4686}"/>
                </a:ext>
              </a:extLst>
            </p:cNvPr>
            <p:cNvSpPr>
              <a:spLocks/>
            </p:cNvSpPr>
            <p:nvPr/>
          </p:nvSpPr>
          <p:spPr bwMode="auto">
            <a:xfrm>
              <a:off x="3398943" y="7786617"/>
              <a:ext cx="920120" cy="401174"/>
            </a:xfrm>
            <a:custGeom>
              <a:avLst/>
              <a:gdLst>
                <a:gd name="T0" fmla="*/ 264 w 264"/>
                <a:gd name="T1" fmla="*/ 0 h 115"/>
                <a:gd name="T2" fmla="*/ 206 w 264"/>
                <a:gd name="T3" fmla="*/ 46 h 115"/>
                <a:gd name="T4" fmla="*/ 142 w 264"/>
                <a:gd name="T5" fmla="*/ 80 h 115"/>
                <a:gd name="T6" fmla="*/ 72 w 264"/>
                <a:gd name="T7" fmla="*/ 103 h 115"/>
                <a:gd name="T8" fmla="*/ 36 w 264"/>
                <a:gd name="T9" fmla="*/ 110 h 115"/>
                <a:gd name="T10" fmla="*/ 18 w 264"/>
                <a:gd name="T11" fmla="*/ 112 h 115"/>
                <a:gd name="T12" fmla="*/ 0 w 264"/>
                <a:gd name="T13" fmla="*/ 115 h 115"/>
                <a:gd name="T14" fmla="*/ 18 w 264"/>
                <a:gd name="T15" fmla="*/ 114 h 115"/>
                <a:gd name="T16" fmla="*/ 37 w 264"/>
                <a:gd name="T17" fmla="*/ 114 h 115"/>
                <a:gd name="T18" fmla="*/ 55 w 264"/>
                <a:gd name="T19" fmla="*/ 111 h 115"/>
                <a:gd name="T20" fmla="*/ 64 w 264"/>
                <a:gd name="T21" fmla="*/ 110 h 115"/>
                <a:gd name="T22" fmla="*/ 73 w 264"/>
                <a:gd name="T23" fmla="*/ 108 h 115"/>
                <a:gd name="T24" fmla="*/ 92 w 264"/>
                <a:gd name="T25" fmla="*/ 104 h 115"/>
                <a:gd name="T26" fmla="*/ 110 w 264"/>
                <a:gd name="T27" fmla="*/ 99 h 115"/>
                <a:gd name="T28" fmla="*/ 114 w 264"/>
                <a:gd name="T29" fmla="*/ 98 h 115"/>
                <a:gd name="T30" fmla="*/ 118 w 264"/>
                <a:gd name="T31" fmla="*/ 97 h 115"/>
                <a:gd name="T32" fmla="*/ 127 w 264"/>
                <a:gd name="T33" fmla="*/ 93 h 115"/>
                <a:gd name="T34" fmla="*/ 144 w 264"/>
                <a:gd name="T35" fmla="*/ 87 h 115"/>
                <a:gd name="T36" fmla="*/ 209 w 264"/>
                <a:gd name="T37" fmla="*/ 50 h 115"/>
                <a:gd name="T38" fmla="*/ 217 w 264"/>
                <a:gd name="T39" fmla="*/ 45 h 115"/>
                <a:gd name="T40" fmla="*/ 224 w 264"/>
                <a:gd name="T41" fmla="*/ 39 h 115"/>
                <a:gd name="T42" fmla="*/ 238 w 264"/>
                <a:gd name="T43" fmla="*/ 27 h 115"/>
                <a:gd name="T44" fmla="*/ 264 w 264"/>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4" h="115">
                  <a:moveTo>
                    <a:pt x="264" y="0"/>
                  </a:moveTo>
                  <a:cubicBezTo>
                    <a:pt x="246" y="17"/>
                    <a:pt x="227" y="32"/>
                    <a:pt x="206" y="46"/>
                  </a:cubicBezTo>
                  <a:cubicBezTo>
                    <a:pt x="186" y="59"/>
                    <a:pt x="164" y="71"/>
                    <a:pt x="142" y="80"/>
                  </a:cubicBezTo>
                  <a:cubicBezTo>
                    <a:pt x="119" y="89"/>
                    <a:pt x="96" y="98"/>
                    <a:pt x="72" y="103"/>
                  </a:cubicBezTo>
                  <a:cubicBezTo>
                    <a:pt x="60" y="106"/>
                    <a:pt x="48" y="108"/>
                    <a:pt x="36" y="110"/>
                  </a:cubicBezTo>
                  <a:cubicBezTo>
                    <a:pt x="30" y="111"/>
                    <a:pt x="24" y="112"/>
                    <a:pt x="18" y="112"/>
                  </a:cubicBezTo>
                  <a:cubicBezTo>
                    <a:pt x="12" y="113"/>
                    <a:pt x="6" y="114"/>
                    <a:pt x="0" y="115"/>
                  </a:cubicBezTo>
                  <a:cubicBezTo>
                    <a:pt x="6" y="115"/>
                    <a:pt x="12" y="115"/>
                    <a:pt x="18" y="114"/>
                  </a:cubicBezTo>
                  <a:cubicBezTo>
                    <a:pt x="24" y="114"/>
                    <a:pt x="30" y="114"/>
                    <a:pt x="37" y="114"/>
                  </a:cubicBezTo>
                  <a:cubicBezTo>
                    <a:pt x="55" y="111"/>
                    <a:pt x="55" y="111"/>
                    <a:pt x="55" y="111"/>
                  </a:cubicBezTo>
                  <a:cubicBezTo>
                    <a:pt x="58" y="111"/>
                    <a:pt x="61" y="111"/>
                    <a:pt x="64" y="110"/>
                  </a:cubicBezTo>
                  <a:cubicBezTo>
                    <a:pt x="73" y="108"/>
                    <a:pt x="73" y="108"/>
                    <a:pt x="73" y="108"/>
                  </a:cubicBezTo>
                  <a:cubicBezTo>
                    <a:pt x="79" y="107"/>
                    <a:pt x="86" y="106"/>
                    <a:pt x="92" y="104"/>
                  </a:cubicBezTo>
                  <a:cubicBezTo>
                    <a:pt x="110" y="99"/>
                    <a:pt x="110" y="99"/>
                    <a:pt x="110" y="99"/>
                  </a:cubicBezTo>
                  <a:cubicBezTo>
                    <a:pt x="114" y="98"/>
                    <a:pt x="114" y="98"/>
                    <a:pt x="114" y="98"/>
                  </a:cubicBezTo>
                  <a:cubicBezTo>
                    <a:pt x="118" y="97"/>
                    <a:pt x="118" y="97"/>
                    <a:pt x="118" y="97"/>
                  </a:cubicBezTo>
                  <a:cubicBezTo>
                    <a:pt x="127" y="93"/>
                    <a:pt x="127" y="93"/>
                    <a:pt x="127" y="93"/>
                  </a:cubicBezTo>
                  <a:cubicBezTo>
                    <a:pt x="133" y="91"/>
                    <a:pt x="139" y="89"/>
                    <a:pt x="144" y="87"/>
                  </a:cubicBezTo>
                  <a:cubicBezTo>
                    <a:pt x="167" y="77"/>
                    <a:pt x="189" y="65"/>
                    <a:pt x="209" y="50"/>
                  </a:cubicBezTo>
                  <a:cubicBezTo>
                    <a:pt x="212" y="48"/>
                    <a:pt x="214" y="47"/>
                    <a:pt x="217" y="45"/>
                  </a:cubicBezTo>
                  <a:cubicBezTo>
                    <a:pt x="224" y="39"/>
                    <a:pt x="224" y="39"/>
                    <a:pt x="224" y="39"/>
                  </a:cubicBezTo>
                  <a:cubicBezTo>
                    <a:pt x="229" y="35"/>
                    <a:pt x="234" y="31"/>
                    <a:pt x="238" y="27"/>
                  </a:cubicBezTo>
                  <a:cubicBezTo>
                    <a:pt x="247" y="19"/>
                    <a:pt x="256" y="10"/>
                    <a:pt x="26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8" name="Freeform 17">
              <a:extLst>
                <a:ext uri="{FF2B5EF4-FFF2-40B4-BE49-F238E27FC236}">
                  <a16:creationId xmlns:a16="http://schemas.microsoft.com/office/drawing/2014/main" id="{A4ED7964-1389-4740-B6FB-CC17A19EDB14}"/>
                </a:ext>
              </a:extLst>
            </p:cNvPr>
            <p:cNvSpPr>
              <a:spLocks/>
            </p:cNvSpPr>
            <p:nvPr/>
          </p:nvSpPr>
          <p:spPr bwMode="auto">
            <a:xfrm>
              <a:off x="2578197" y="6700876"/>
              <a:ext cx="1726147" cy="2977510"/>
            </a:xfrm>
            <a:custGeom>
              <a:avLst/>
              <a:gdLst>
                <a:gd name="T0" fmla="*/ 99 w 496"/>
                <a:gd name="T1" fmla="*/ 366 h 856"/>
                <a:gd name="T2" fmla="*/ 82 w 496"/>
                <a:gd name="T3" fmla="*/ 822 h 856"/>
                <a:gd name="T4" fmla="*/ 397 w 496"/>
                <a:gd name="T5" fmla="*/ 491 h 856"/>
                <a:gd name="T6" fmla="*/ 413 w 496"/>
                <a:gd name="T7" fmla="*/ 35 h 856"/>
                <a:gd name="T8" fmla="*/ 99 w 496"/>
                <a:gd name="T9" fmla="*/ 366 h 856"/>
              </a:gdLst>
              <a:ahLst/>
              <a:cxnLst>
                <a:cxn ang="0">
                  <a:pos x="T0" y="T1"/>
                </a:cxn>
                <a:cxn ang="0">
                  <a:pos x="T2" y="T3"/>
                </a:cxn>
                <a:cxn ang="0">
                  <a:pos x="T4" y="T5"/>
                </a:cxn>
                <a:cxn ang="0">
                  <a:pos x="T6" y="T7"/>
                </a:cxn>
                <a:cxn ang="0">
                  <a:pos x="T8" y="T9"/>
                </a:cxn>
              </a:cxnLst>
              <a:rect l="0" t="0" r="r" b="b"/>
              <a:pathLst>
                <a:path w="496" h="856">
                  <a:moveTo>
                    <a:pt x="99" y="366"/>
                  </a:moveTo>
                  <a:cubicBezTo>
                    <a:pt x="8" y="583"/>
                    <a:pt x="0" y="787"/>
                    <a:pt x="82" y="822"/>
                  </a:cubicBezTo>
                  <a:cubicBezTo>
                    <a:pt x="165" y="856"/>
                    <a:pt x="305" y="708"/>
                    <a:pt x="397" y="491"/>
                  </a:cubicBezTo>
                  <a:cubicBezTo>
                    <a:pt x="488" y="274"/>
                    <a:pt x="496" y="70"/>
                    <a:pt x="413" y="35"/>
                  </a:cubicBezTo>
                  <a:cubicBezTo>
                    <a:pt x="331" y="0"/>
                    <a:pt x="191" y="149"/>
                    <a:pt x="99" y="366"/>
                  </a:cubicBezTo>
                  <a:close/>
                </a:path>
              </a:pathLst>
            </a:custGeom>
            <a:solidFill>
              <a:schemeClr val="accent6">
                <a:lumMod val="60000"/>
                <a:lumOff val="40000"/>
              </a:schemeClr>
            </a:solidFill>
            <a:ln>
              <a:noFill/>
            </a:ln>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19" name="Freeform 18">
              <a:extLst>
                <a:ext uri="{FF2B5EF4-FFF2-40B4-BE49-F238E27FC236}">
                  <a16:creationId xmlns:a16="http://schemas.microsoft.com/office/drawing/2014/main" id="{E262524D-0DB7-4FEA-80C1-64F5C2ADB9BF}"/>
                </a:ext>
              </a:extLst>
            </p:cNvPr>
            <p:cNvSpPr>
              <a:spLocks/>
            </p:cNvSpPr>
            <p:nvPr/>
          </p:nvSpPr>
          <p:spPr bwMode="auto">
            <a:xfrm>
              <a:off x="1613911" y="5780756"/>
              <a:ext cx="1950655" cy="3923393"/>
            </a:xfrm>
            <a:custGeom>
              <a:avLst/>
              <a:gdLst>
                <a:gd name="T0" fmla="*/ 79 w 561"/>
                <a:gd name="T1" fmla="*/ 617 h 1127"/>
                <a:gd name="T2" fmla="*/ 422 w 561"/>
                <a:gd name="T3" fmla="*/ 1097 h 1127"/>
                <a:gd name="T4" fmla="*/ 482 w 561"/>
                <a:gd name="T5" fmla="*/ 510 h 1127"/>
                <a:gd name="T6" fmla="*/ 138 w 561"/>
                <a:gd name="T7" fmla="*/ 30 h 1127"/>
                <a:gd name="T8" fmla="*/ 79 w 561"/>
                <a:gd name="T9" fmla="*/ 617 h 1127"/>
              </a:gdLst>
              <a:ahLst/>
              <a:cxnLst>
                <a:cxn ang="0">
                  <a:pos x="T0" y="T1"/>
                </a:cxn>
                <a:cxn ang="0">
                  <a:pos x="T2" y="T3"/>
                </a:cxn>
                <a:cxn ang="0">
                  <a:pos x="T4" y="T5"/>
                </a:cxn>
                <a:cxn ang="0">
                  <a:pos x="T6" y="T7"/>
                </a:cxn>
                <a:cxn ang="0">
                  <a:pos x="T8" y="T9"/>
                </a:cxn>
              </a:cxnLst>
              <a:rect l="0" t="0" r="r" b="b"/>
              <a:pathLst>
                <a:path w="561" h="1127">
                  <a:moveTo>
                    <a:pt x="79" y="617"/>
                  </a:moveTo>
                  <a:cubicBezTo>
                    <a:pt x="157" y="912"/>
                    <a:pt x="311" y="1127"/>
                    <a:pt x="422" y="1097"/>
                  </a:cubicBezTo>
                  <a:cubicBezTo>
                    <a:pt x="534" y="1067"/>
                    <a:pt x="561" y="804"/>
                    <a:pt x="482" y="510"/>
                  </a:cubicBezTo>
                  <a:cubicBezTo>
                    <a:pt x="404" y="215"/>
                    <a:pt x="250" y="0"/>
                    <a:pt x="138" y="30"/>
                  </a:cubicBezTo>
                  <a:cubicBezTo>
                    <a:pt x="27" y="60"/>
                    <a:pt x="0" y="322"/>
                    <a:pt x="79" y="617"/>
                  </a:cubicBezTo>
                  <a:close/>
                </a:path>
              </a:pathLst>
            </a:custGeom>
            <a:solidFill>
              <a:schemeClr val="accent6">
                <a:lumMod val="60000"/>
                <a:lumOff val="40000"/>
              </a:schemeClr>
            </a:solidFill>
            <a:ln>
              <a:noFill/>
            </a:ln>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0" name="Freeform 19">
              <a:extLst>
                <a:ext uri="{FF2B5EF4-FFF2-40B4-BE49-F238E27FC236}">
                  <a16:creationId xmlns:a16="http://schemas.microsoft.com/office/drawing/2014/main" id="{497343FD-8BC4-4AD9-A810-F23E5E709653}"/>
                </a:ext>
              </a:extLst>
            </p:cNvPr>
            <p:cNvSpPr>
              <a:spLocks/>
            </p:cNvSpPr>
            <p:nvPr/>
          </p:nvSpPr>
          <p:spPr bwMode="auto">
            <a:xfrm>
              <a:off x="2165983" y="6075194"/>
              <a:ext cx="1759270" cy="3249866"/>
            </a:xfrm>
            <a:custGeom>
              <a:avLst/>
              <a:gdLst>
                <a:gd name="T0" fmla="*/ 505 w 505"/>
                <a:gd name="T1" fmla="*/ 296 h 933"/>
                <a:gd name="T2" fmla="*/ 434 w 505"/>
                <a:gd name="T3" fmla="*/ 452 h 933"/>
                <a:gd name="T4" fmla="*/ 362 w 505"/>
                <a:gd name="T5" fmla="*/ 609 h 933"/>
                <a:gd name="T6" fmla="*/ 291 w 505"/>
                <a:gd name="T7" fmla="*/ 765 h 933"/>
                <a:gd name="T8" fmla="*/ 220 w 505"/>
                <a:gd name="T9" fmla="*/ 922 h 933"/>
                <a:gd name="T10" fmla="*/ 227 w 505"/>
                <a:gd name="T11" fmla="*/ 922 h 933"/>
                <a:gd name="T12" fmla="*/ 199 w 505"/>
                <a:gd name="T13" fmla="*/ 807 h 933"/>
                <a:gd name="T14" fmla="*/ 171 w 505"/>
                <a:gd name="T15" fmla="*/ 691 h 933"/>
                <a:gd name="T16" fmla="*/ 115 w 505"/>
                <a:gd name="T17" fmla="*/ 461 h 933"/>
                <a:gd name="T18" fmla="*/ 58 w 505"/>
                <a:gd name="T19" fmla="*/ 230 h 933"/>
                <a:gd name="T20" fmla="*/ 0 w 505"/>
                <a:gd name="T21" fmla="*/ 0 h 933"/>
                <a:gd name="T22" fmla="*/ 54 w 505"/>
                <a:gd name="T23" fmla="*/ 231 h 933"/>
                <a:gd name="T24" fmla="*/ 109 w 505"/>
                <a:gd name="T25" fmla="*/ 462 h 933"/>
                <a:gd name="T26" fmla="*/ 164 w 505"/>
                <a:gd name="T27" fmla="*/ 693 h 933"/>
                <a:gd name="T28" fmla="*/ 192 w 505"/>
                <a:gd name="T29" fmla="*/ 808 h 933"/>
                <a:gd name="T30" fmla="*/ 220 w 505"/>
                <a:gd name="T31" fmla="*/ 924 h 933"/>
                <a:gd name="T32" fmla="*/ 223 w 505"/>
                <a:gd name="T33" fmla="*/ 933 h 933"/>
                <a:gd name="T34" fmla="*/ 227 w 505"/>
                <a:gd name="T35" fmla="*/ 924 h 933"/>
                <a:gd name="T36" fmla="*/ 297 w 505"/>
                <a:gd name="T37" fmla="*/ 768 h 933"/>
                <a:gd name="T38" fmla="*/ 367 w 505"/>
                <a:gd name="T39" fmla="*/ 611 h 933"/>
                <a:gd name="T40" fmla="*/ 436 w 505"/>
                <a:gd name="T41" fmla="*/ 454 h 933"/>
                <a:gd name="T42" fmla="*/ 505 w 505"/>
                <a:gd name="T43" fmla="*/ 296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5" h="933">
                  <a:moveTo>
                    <a:pt x="505" y="296"/>
                  </a:moveTo>
                  <a:cubicBezTo>
                    <a:pt x="434" y="452"/>
                    <a:pt x="434" y="452"/>
                    <a:pt x="434" y="452"/>
                  </a:cubicBezTo>
                  <a:cubicBezTo>
                    <a:pt x="410" y="504"/>
                    <a:pt x="386" y="557"/>
                    <a:pt x="362" y="609"/>
                  </a:cubicBezTo>
                  <a:cubicBezTo>
                    <a:pt x="291" y="765"/>
                    <a:pt x="291" y="765"/>
                    <a:pt x="291" y="765"/>
                  </a:cubicBezTo>
                  <a:cubicBezTo>
                    <a:pt x="220" y="922"/>
                    <a:pt x="220" y="922"/>
                    <a:pt x="220" y="922"/>
                  </a:cubicBezTo>
                  <a:cubicBezTo>
                    <a:pt x="227" y="922"/>
                    <a:pt x="227" y="922"/>
                    <a:pt x="227" y="922"/>
                  </a:cubicBezTo>
                  <a:cubicBezTo>
                    <a:pt x="199" y="807"/>
                    <a:pt x="199" y="807"/>
                    <a:pt x="199" y="807"/>
                  </a:cubicBezTo>
                  <a:cubicBezTo>
                    <a:pt x="171" y="691"/>
                    <a:pt x="171" y="691"/>
                    <a:pt x="171" y="691"/>
                  </a:cubicBezTo>
                  <a:cubicBezTo>
                    <a:pt x="115" y="461"/>
                    <a:pt x="115" y="461"/>
                    <a:pt x="115" y="461"/>
                  </a:cubicBezTo>
                  <a:cubicBezTo>
                    <a:pt x="58" y="230"/>
                    <a:pt x="58" y="230"/>
                    <a:pt x="58" y="230"/>
                  </a:cubicBezTo>
                  <a:cubicBezTo>
                    <a:pt x="0" y="0"/>
                    <a:pt x="0" y="0"/>
                    <a:pt x="0" y="0"/>
                  </a:cubicBezTo>
                  <a:cubicBezTo>
                    <a:pt x="54" y="231"/>
                    <a:pt x="54" y="231"/>
                    <a:pt x="54" y="231"/>
                  </a:cubicBezTo>
                  <a:cubicBezTo>
                    <a:pt x="109" y="462"/>
                    <a:pt x="109" y="462"/>
                    <a:pt x="109" y="462"/>
                  </a:cubicBezTo>
                  <a:cubicBezTo>
                    <a:pt x="164" y="693"/>
                    <a:pt x="164" y="693"/>
                    <a:pt x="164" y="693"/>
                  </a:cubicBezTo>
                  <a:cubicBezTo>
                    <a:pt x="192" y="808"/>
                    <a:pt x="192" y="808"/>
                    <a:pt x="192" y="808"/>
                  </a:cubicBezTo>
                  <a:cubicBezTo>
                    <a:pt x="220" y="924"/>
                    <a:pt x="220" y="924"/>
                    <a:pt x="220" y="924"/>
                  </a:cubicBezTo>
                  <a:cubicBezTo>
                    <a:pt x="223" y="933"/>
                    <a:pt x="223" y="933"/>
                    <a:pt x="223" y="933"/>
                  </a:cubicBezTo>
                  <a:cubicBezTo>
                    <a:pt x="227" y="924"/>
                    <a:pt x="227" y="924"/>
                    <a:pt x="227" y="924"/>
                  </a:cubicBezTo>
                  <a:cubicBezTo>
                    <a:pt x="297" y="768"/>
                    <a:pt x="297" y="768"/>
                    <a:pt x="297" y="768"/>
                  </a:cubicBezTo>
                  <a:cubicBezTo>
                    <a:pt x="367" y="611"/>
                    <a:pt x="367" y="611"/>
                    <a:pt x="367" y="611"/>
                  </a:cubicBezTo>
                  <a:cubicBezTo>
                    <a:pt x="390" y="558"/>
                    <a:pt x="413" y="506"/>
                    <a:pt x="436" y="454"/>
                  </a:cubicBezTo>
                  <a:lnTo>
                    <a:pt x="505" y="2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1" name="Freeform 20">
              <a:extLst>
                <a:ext uri="{FF2B5EF4-FFF2-40B4-BE49-F238E27FC236}">
                  <a16:creationId xmlns:a16="http://schemas.microsoft.com/office/drawing/2014/main" id="{1BFD1C4D-9A5E-4F78-9963-BA4868F99E33}"/>
                </a:ext>
              </a:extLst>
            </p:cNvPr>
            <p:cNvSpPr>
              <a:spLocks/>
            </p:cNvSpPr>
            <p:nvPr/>
          </p:nvSpPr>
          <p:spPr bwMode="auto">
            <a:xfrm>
              <a:off x="2769582" y="7808700"/>
              <a:ext cx="305481" cy="758179"/>
            </a:xfrm>
            <a:custGeom>
              <a:avLst/>
              <a:gdLst>
                <a:gd name="T0" fmla="*/ 88 w 88"/>
                <a:gd name="T1" fmla="*/ 0 h 217"/>
                <a:gd name="T2" fmla="*/ 70 w 88"/>
                <a:gd name="T3" fmla="*/ 56 h 217"/>
                <a:gd name="T4" fmla="*/ 51 w 88"/>
                <a:gd name="T5" fmla="*/ 112 h 217"/>
                <a:gd name="T6" fmla="*/ 30 w 88"/>
                <a:gd name="T7" fmla="*/ 167 h 217"/>
                <a:gd name="T8" fmla="*/ 0 w 88"/>
                <a:gd name="T9" fmla="*/ 217 h 217"/>
                <a:gd name="T10" fmla="*/ 35 w 88"/>
                <a:gd name="T11" fmla="*/ 169 h 217"/>
                <a:gd name="T12" fmla="*/ 58 w 88"/>
                <a:gd name="T13" fmla="*/ 114 h 217"/>
                <a:gd name="T14" fmla="*/ 75 w 88"/>
                <a:gd name="T15" fmla="*/ 58 h 217"/>
                <a:gd name="T16" fmla="*/ 88 w 88"/>
                <a:gd name="T17"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217">
                  <a:moveTo>
                    <a:pt x="88" y="0"/>
                  </a:moveTo>
                  <a:cubicBezTo>
                    <a:pt x="82" y="19"/>
                    <a:pt x="76" y="37"/>
                    <a:pt x="70" y="56"/>
                  </a:cubicBezTo>
                  <a:cubicBezTo>
                    <a:pt x="64" y="75"/>
                    <a:pt x="58" y="93"/>
                    <a:pt x="51" y="112"/>
                  </a:cubicBezTo>
                  <a:cubicBezTo>
                    <a:pt x="45" y="130"/>
                    <a:pt x="38" y="149"/>
                    <a:pt x="30" y="167"/>
                  </a:cubicBezTo>
                  <a:cubicBezTo>
                    <a:pt x="22" y="184"/>
                    <a:pt x="13" y="202"/>
                    <a:pt x="0" y="217"/>
                  </a:cubicBezTo>
                  <a:cubicBezTo>
                    <a:pt x="15" y="204"/>
                    <a:pt x="26" y="187"/>
                    <a:pt x="35" y="169"/>
                  </a:cubicBezTo>
                  <a:cubicBezTo>
                    <a:pt x="44" y="151"/>
                    <a:pt x="51" y="133"/>
                    <a:pt x="58" y="114"/>
                  </a:cubicBezTo>
                  <a:cubicBezTo>
                    <a:pt x="64" y="96"/>
                    <a:pt x="70" y="77"/>
                    <a:pt x="75" y="58"/>
                  </a:cubicBezTo>
                  <a:cubicBezTo>
                    <a:pt x="80" y="39"/>
                    <a:pt x="84" y="19"/>
                    <a:pt x="8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2" name="Freeform 21">
              <a:extLst>
                <a:ext uri="{FF2B5EF4-FFF2-40B4-BE49-F238E27FC236}">
                  <a16:creationId xmlns:a16="http://schemas.microsoft.com/office/drawing/2014/main" id="{98E7E584-510C-4EF4-9A16-3071E11CB0B6}"/>
                </a:ext>
              </a:extLst>
            </p:cNvPr>
            <p:cNvSpPr>
              <a:spLocks/>
            </p:cNvSpPr>
            <p:nvPr/>
          </p:nvSpPr>
          <p:spPr bwMode="auto">
            <a:xfrm>
              <a:off x="2684930" y="7473777"/>
              <a:ext cx="268676" cy="743457"/>
            </a:xfrm>
            <a:custGeom>
              <a:avLst/>
              <a:gdLst>
                <a:gd name="T0" fmla="*/ 77 w 77"/>
                <a:gd name="T1" fmla="*/ 0 h 214"/>
                <a:gd name="T2" fmla="*/ 60 w 77"/>
                <a:gd name="T3" fmla="*/ 55 h 214"/>
                <a:gd name="T4" fmla="*/ 43 w 77"/>
                <a:gd name="T5" fmla="*/ 109 h 214"/>
                <a:gd name="T6" fmla="*/ 24 w 77"/>
                <a:gd name="T7" fmla="*/ 163 h 214"/>
                <a:gd name="T8" fmla="*/ 0 w 77"/>
                <a:gd name="T9" fmla="*/ 214 h 214"/>
                <a:gd name="T10" fmla="*/ 30 w 77"/>
                <a:gd name="T11" fmla="*/ 165 h 214"/>
                <a:gd name="T12" fmla="*/ 50 w 77"/>
                <a:gd name="T13" fmla="*/ 111 h 214"/>
                <a:gd name="T14" fmla="*/ 65 w 77"/>
                <a:gd name="T15" fmla="*/ 56 h 214"/>
                <a:gd name="T16" fmla="*/ 77 w 77"/>
                <a:gd name="T17"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214">
                  <a:moveTo>
                    <a:pt x="77" y="0"/>
                  </a:moveTo>
                  <a:cubicBezTo>
                    <a:pt x="71" y="18"/>
                    <a:pt x="65" y="36"/>
                    <a:pt x="60" y="55"/>
                  </a:cubicBezTo>
                  <a:cubicBezTo>
                    <a:pt x="54" y="73"/>
                    <a:pt x="49" y="91"/>
                    <a:pt x="43" y="109"/>
                  </a:cubicBezTo>
                  <a:cubicBezTo>
                    <a:pt x="37" y="127"/>
                    <a:pt x="31" y="145"/>
                    <a:pt x="24" y="163"/>
                  </a:cubicBezTo>
                  <a:cubicBezTo>
                    <a:pt x="18" y="180"/>
                    <a:pt x="10" y="198"/>
                    <a:pt x="0" y="214"/>
                  </a:cubicBezTo>
                  <a:cubicBezTo>
                    <a:pt x="13" y="199"/>
                    <a:pt x="22" y="182"/>
                    <a:pt x="30" y="165"/>
                  </a:cubicBezTo>
                  <a:cubicBezTo>
                    <a:pt x="37" y="147"/>
                    <a:pt x="44" y="129"/>
                    <a:pt x="50" y="111"/>
                  </a:cubicBezTo>
                  <a:cubicBezTo>
                    <a:pt x="55" y="93"/>
                    <a:pt x="61" y="75"/>
                    <a:pt x="65" y="56"/>
                  </a:cubicBezTo>
                  <a:cubicBezTo>
                    <a:pt x="70" y="37"/>
                    <a:pt x="74" y="19"/>
                    <a:pt x="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3" name="Freeform 22">
              <a:extLst>
                <a:ext uri="{FF2B5EF4-FFF2-40B4-BE49-F238E27FC236}">
                  <a16:creationId xmlns:a16="http://schemas.microsoft.com/office/drawing/2014/main" id="{A35179AC-5655-4C9C-8BCA-B547BDF2F124}"/>
                </a:ext>
              </a:extLst>
            </p:cNvPr>
            <p:cNvSpPr>
              <a:spLocks/>
            </p:cNvSpPr>
            <p:nvPr/>
          </p:nvSpPr>
          <p:spPr bwMode="auto">
            <a:xfrm>
              <a:off x="2519309" y="6741360"/>
              <a:ext cx="305481" cy="794984"/>
            </a:xfrm>
            <a:custGeom>
              <a:avLst/>
              <a:gdLst>
                <a:gd name="T0" fmla="*/ 88 w 88"/>
                <a:gd name="T1" fmla="*/ 0 h 228"/>
                <a:gd name="T2" fmla="*/ 69 w 88"/>
                <a:gd name="T3" fmla="*/ 58 h 228"/>
                <a:gd name="T4" fmla="*/ 51 w 88"/>
                <a:gd name="T5" fmla="*/ 117 h 228"/>
                <a:gd name="T6" fmla="*/ 30 w 88"/>
                <a:gd name="T7" fmla="*/ 174 h 228"/>
                <a:gd name="T8" fmla="*/ 24 w 88"/>
                <a:gd name="T9" fmla="*/ 188 h 228"/>
                <a:gd name="T10" fmla="*/ 17 w 88"/>
                <a:gd name="T11" fmla="*/ 202 h 228"/>
                <a:gd name="T12" fmla="*/ 0 w 88"/>
                <a:gd name="T13" fmla="*/ 228 h 228"/>
                <a:gd name="T14" fmla="*/ 35 w 88"/>
                <a:gd name="T15" fmla="*/ 177 h 228"/>
                <a:gd name="T16" fmla="*/ 58 w 88"/>
                <a:gd name="T17" fmla="*/ 119 h 228"/>
                <a:gd name="T18" fmla="*/ 75 w 88"/>
                <a:gd name="T19" fmla="*/ 60 h 228"/>
                <a:gd name="T20" fmla="*/ 88 w 88"/>
                <a:gd name="T21"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228">
                  <a:moveTo>
                    <a:pt x="88" y="0"/>
                  </a:moveTo>
                  <a:cubicBezTo>
                    <a:pt x="82" y="19"/>
                    <a:pt x="75" y="39"/>
                    <a:pt x="69" y="58"/>
                  </a:cubicBezTo>
                  <a:cubicBezTo>
                    <a:pt x="63" y="78"/>
                    <a:pt x="57" y="97"/>
                    <a:pt x="51" y="117"/>
                  </a:cubicBezTo>
                  <a:cubicBezTo>
                    <a:pt x="44" y="136"/>
                    <a:pt x="38" y="155"/>
                    <a:pt x="30" y="174"/>
                  </a:cubicBezTo>
                  <a:cubicBezTo>
                    <a:pt x="28" y="179"/>
                    <a:pt x="26" y="184"/>
                    <a:pt x="24" y="188"/>
                  </a:cubicBezTo>
                  <a:cubicBezTo>
                    <a:pt x="21" y="193"/>
                    <a:pt x="19" y="197"/>
                    <a:pt x="17" y="202"/>
                  </a:cubicBezTo>
                  <a:cubicBezTo>
                    <a:pt x="12" y="211"/>
                    <a:pt x="6" y="219"/>
                    <a:pt x="0" y="228"/>
                  </a:cubicBezTo>
                  <a:cubicBezTo>
                    <a:pt x="15" y="213"/>
                    <a:pt x="26" y="195"/>
                    <a:pt x="35" y="177"/>
                  </a:cubicBezTo>
                  <a:cubicBezTo>
                    <a:pt x="44" y="158"/>
                    <a:pt x="51" y="139"/>
                    <a:pt x="58" y="119"/>
                  </a:cubicBezTo>
                  <a:cubicBezTo>
                    <a:pt x="64" y="100"/>
                    <a:pt x="70" y="80"/>
                    <a:pt x="75" y="60"/>
                  </a:cubicBezTo>
                  <a:cubicBezTo>
                    <a:pt x="80" y="40"/>
                    <a:pt x="84" y="20"/>
                    <a:pt x="8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4" name="Freeform 23">
              <a:extLst>
                <a:ext uri="{FF2B5EF4-FFF2-40B4-BE49-F238E27FC236}">
                  <a16:creationId xmlns:a16="http://schemas.microsoft.com/office/drawing/2014/main" id="{272973AB-2CDB-4CC5-8603-3ADEFC560F52}"/>
                </a:ext>
              </a:extLst>
            </p:cNvPr>
            <p:cNvSpPr>
              <a:spLocks/>
            </p:cNvSpPr>
            <p:nvPr/>
          </p:nvSpPr>
          <p:spPr bwMode="auto">
            <a:xfrm>
              <a:off x="1878906" y="6638307"/>
              <a:ext cx="552072" cy="526310"/>
            </a:xfrm>
            <a:custGeom>
              <a:avLst/>
              <a:gdLst>
                <a:gd name="T0" fmla="*/ 159 w 159"/>
                <a:gd name="T1" fmla="*/ 152 h 152"/>
                <a:gd name="T2" fmla="*/ 116 w 159"/>
                <a:gd name="T3" fmla="*/ 117 h 152"/>
                <a:gd name="T4" fmla="*/ 77 w 159"/>
                <a:gd name="T5" fmla="*/ 79 h 152"/>
                <a:gd name="T6" fmla="*/ 39 w 159"/>
                <a:gd name="T7" fmla="*/ 39 h 152"/>
                <a:gd name="T8" fmla="*/ 0 w 159"/>
                <a:gd name="T9" fmla="*/ 0 h 152"/>
                <a:gd name="T10" fmla="*/ 35 w 159"/>
                <a:gd name="T11" fmla="*/ 43 h 152"/>
                <a:gd name="T12" fmla="*/ 72 w 159"/>
                <a:gd name="T13" fmla="*/ 84 h 152"/>
                <a:gd name="T14" fmla="*/ 113 w 159"/>
                <a:gd name="T15" fmla="*/ 121 h 152"/>
                <a:gd name="T16" fmla="*/ 159 w 159"/>
                <a:gd name="T17"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52">
                  <a:moveTo>
                    <a:pt x="159" y="152"/>
                  </a:moveTo>
                  <a:cubicBezTo>
                    <a:pt x="144" y="141"/>
                    <a:pt x="130" y="130"/>
                    <a:pt x="116" y="117"/>
                  </a:cubicBezTo>
                  <a:cubicBezTo>
                    <a:pt x="103" y="105"/>
                    <a:pt x="90" y="92"/>
                    <a:pt x="77" y="79"/>
                  </a:cubicBezTo>
                  <a:cubicBezTo>
                    <a:pt x="64" y="66"/>
                    <a:pt x="51" y="52"/>
                    <a:pt x="39" y="39"/>
                  </a:cubicBezTo>
                  <a:cubicBezTo>
                    <a:pt x="26" y="26"/>
                    <a:pt x="13" y="13"/>
                    <a:pt x="0" y="0"/>
                  </a:cubicBezTo>
                  <a:cubicBezTo>
                    <a:pt x="11" y="15"/>
                    <a:pt x="23" y="29"/>
                    <a:pt x="35" y="43"/>
                  </a:cubicBezTo>
                  <a:cubicBezTo>
                    <a:pt x="46" y="57"/>
                    <a:pt x="59" y="71"/>
                    <a:pt x="72" y="84"/>
                  </a:cubicBezTo>
                  <a:cubicBezTo>
                    <a:pt x="85" y="97"/>
                    <a:pt x="98" y="110"/>
                    <a:pt x="113" y="121"/>
                  </a:cubicBezTo>
                  <a:cubicBezTo>
                    <a:pt x="127" y="133"/>
                    <a:pt x="142" y="144"/>
                    <a:pt x="159"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5" name="Freeform 24">
              <a:extLst>
                <a:ext uri="{FF2B5EF4-FFF2-40B4-BE49-F238E27FC236}">
                  <a16:creationId xmlns:a16="http://schemas.microsoft.com/office/drawing/2014/main" id="{45A726E5-E208-46FD-9A19-E04C1C79F926}"/>
                </a:ext>
              </a:extLst>
            </p:cNvPr>
            <p:cNvSpPr>
              <a:spLocks/>
            </p:cNvSpPr>
            <p:nvPr/>
          </p:nvSpPr>
          <p:spPr bwMode="auto">
            <a:xfrm>
              <a:off x="1945154" y="7503221"/>
              <a:ext cx="666168" cy="415896"/>
            </a:xfrm>
            <a:custGeom>
              <a:avLst/>
              <a:gdLst>
                <a:gd name="T0" fmla="*/ 192 w 192"/>
                <a:gd name="T1" fmla="*/ 119 h 119"/>
                <a:gd name="T2" fmla="*/ 142 w 192"/>
                <a:gd name="T3" fmla="*/ 93 h 119"/>
                <a:gd name="T4" fmla="*/ 95 w 192"/>
                <a:gd name="T5" fmla="*/ 62 h 119"/>
                <a:gd name="T6" fmla="*/ 48 w 192"/>
                <a:gd name="T7" fmla="*/ 31 h 119"/>
                <a:gd name="T8" fmla="*/ 0 w 192"/>
                <a:gd name="T9" fmla="*/ 0 h 119"/>
                <a:gd name="T10" fmla="*/ 44 w 192"/>
                <a:gd name="T11" fmla="*/ 35 h 119"/>
                <a:gd name="T12" fmla="*/ 91 w 192"/>
                <a:gd name="T13" fmla="*/ 68 h 119"/>
                <a:gd name="T14" fmla="*/ 139 w 192"/>
                <a:gd name="T15" fmla="*/ 98 h 119"/>
                <a:gd name="T16" fmla="*/ 192 w 192"/>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119">
                  <a:moveTo>
                    <a:pt x="192" y="119"/>
                  </a:moveTo>
                  <a:cubicBezTo>
                    <a:pt x="174" y="112"/>
                    <a:pt x="158" y="103"/>
                    <a:pt x="142" y="93"/>
                  </a:cubicBezTo>
                  <a:cubicBezTo>
                    <a:pt x="126" y="83"/>
                    <a:pt x="110" y="73"/>
                    <a:pt x="95" y="62"/>
                  </a:cubicBezTo>
                  <a:cubicBezTo>
                    <a:pt x="48" y="31"/>
                    <a:pt x="48" y="31"/>
                    <a:pt x="48" y="31"/>
                  </a:cubicBezTo>
                  <a:cubicBezTo>
                    <a:pt x="32" y="20"/>
                    <a:pt x="16" y="10"/>
                    <a:pt x="0" y="0"/>
                  </a:cubicBezTo>
                  <a:cubicBezTo>
                    <a:pt x="15" y="12"/>
                    <a:pt x="29" y="24"/>
                    <a:pt x="44" y="35"/>
                  </a:cubicBezTo>
                  <a:cubicBezTo>
                    <a:pt x="59" y="47"/>
                    <a:pt x="75" y="58"/>
                    <a:pt x="91" y="68"/>
                  </a:cubicBezTo>
                  <a:cubicBezTo>
                    <a:pt x="106" y="79"/>
                    <a:pt x="122" y="89"/>
                    <a:pt x="139" y="98"/>
                  </a:cubicBezTo>
                  <a:cubicBezTo>
                    <a:pt x="156" y="107"/>
                    <a:pt x="173" y="115"/>
                    <a:pt x="192" y="1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6" name="Freeform 25">
              <a:extLst>
                <a:ext uri="{FF2B5EF4-FFF2-40B4-BE49-F238E27FC236}">
                  <a16:creationId xmlns:a16="http://schemas.microsoft.com/office/drawing/2014/main" id="{501418BF-AD72-4374-8554-6479475DF340}"/>
                </a:ext>
              </a:extLst>
            </p:cNvPr>
            <p:cNvSpPr>
              <a:spLocks/>
            </p:cNvSpPr>
            <p:nvPr/>
          </p:nvSpPr>
          <p:spPr bwMode="auto">
            <a:xfrm>
              <a:off x="2125497" y="7985363"/>
              <a:ext cx="599920" cy="393813"/>
            </a:xfrm>
            <a:custGeom>
              <a:avLst/>
              <a:gdLst>
                <a:gd name="T0" fmla="*/ 172 w 172"/>
                <a:gd name="T1" fmla="*/ 113 h 113"/>
                <a:gd name="T2" fmla="*/ 148 w 172"/>
                <a:gd name="T3" fmla="*/ 104 h 113"/>
                <a:gd name="T4" fmla="*/ 137 w 172"/>
                <a:gd name="T5" fmla="*/ 97 h 113"/>
                <a:gd name="T6" fmla="*/ 126 w 172"/>
                <a:gd name="T7" fmla="*/ 90 h 113"/>
                <a:gd name="T8" fmla="*/ 84 w 172"/>
                <a:gd name="T9" fmla="*/ 60 h 113"/>
                <a:gd name="T10" fmla="*/ 42 w 172"/>
                <a:gd name="T11" fmla="*/ 30 h 113"/>
                <a:gd name="T12" fmla="*/ 0 w 172"/>
                <a:gd name="T13" fmla="*/ 0 h 113"/>
                <a:gd name="T14" fmla="*/ 39 w 172"/>
                <a:gd name="T15" fmla="*/ 34 h 113"/>
                <a:gd name="T16" fmla="*/ 80 w 172"/>
                <a:gd name="T17" fmla="*/ 66 h 113"/>
                <a:gd name="T18" fmla="*/ 123 w 172"/>
                <a:gd name="T19" fmla="*/ 95 h 113"/>
                <a:gd name="T20" fmla="*/ 135 w 172"/>
                <a:gd name="T21" fmla="*/ 101 h 113"/>
                <a:gd name="T22" fmla="*/ 147 w 172"/>
                <a:gd name="T23" fmla="*/ 107 h 113"/>
                <a:gd name="T24" fmla="*/ 172 w 172"/>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2" h="113">
                  <a:moveTo>
                    <a:pt x="172" y="113"/>
                  </a:moveTo>
                  <a:cubicBezTo>
                    <a:pt x="164" y="112"/>
                    <a:pt x="156" y="108"/>
                    <a:pt x="148" y="104"/>
                  </a:cubicBezTo>
                  <a:cubicBezTo>
                    <a:pt x="145" y="102"/>
                    <a:pt x="141" y="100"/>
                    <a:pt x="137" y="97"/>
                  </a:cubicBezTo>
                  <a:cubicBezTo>
                    <a:pt x="133" y="95"/>
                    <a:pt x="130" y="93"/>
                    <a:pt x="126" y="90"/>
                  </a:cubicBezTo>
                  <a:cubicBezTo>
                    <a:pt x="112" y="81"/>
                    <a:pt x="98" y="71"/>
                    <a:pt x="84" y="60"/>
                  </a:cubicBezTo>
                  <a:cubicBezTo>
                    <a:pt x="42" y="30"/>
                    <a:pt x="42" y="30"/>
                    <a:pt x="42" y="30"/>
                  </a:cubicBezTo>
                  <a:cubicBezTo>
                    <a:pt x="28" y="19"/>
                    <a:pt x="14" y="9"/>
                    <a:pt x="0" y="0"/>
                  </a:cubicBezTo>
                  <a:cubicBezTo>
                    <a:pt x="12" y="12"/>
                    <a:pt x="25" y="23"/>
                    <a:pt x="39" y="34"/>
                  </a:cubicBezTo>
                  <a:cubicBezTo>
                    <a:pt x="52" y="45"/>
                    <a:pt x="66" y="56"/>
                    <a:pt x="80" y="66"/>
                  </a:cubicBezTo>
                  <a:cubicBezTo>
                    <a:pt x="94" y="76"/>
                    <a:pt x="108" y="86"/>
                    <a:pt x="123" y="95"/>
                  </a:cubicBezTo>
                  <a:cubicBezTo>
                    <a:pt x="127" y="97"/>
                    <a:pt x="131" y="99"/>
                    <a:pt x="135" y="101"/>
                  </a:cubicBezTo>
                  <a:cubicBezTo>
                    <a:pt x="139" y="103"/>
                    <a:pt x="143" y="105"/>
                    <a:pt x="147" y="107"/>
                  </a:cubicBezTo>
                  <a:cubicBezTo>
                    <a:pt x="155" y="110"/>
                    <a:pt x="163" y="113"/>
                    <a:pt x="172" y="1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7" name="Freeform 26">
              <a:extLst>
                <a:ext uri="{FF2B5EF4-FFF2-40B4-BE49-F238E27FC236}">
                  <a16:creationId xmlns:a16="http://schemas.microsoft.com/office/drawing/2014/main" id="{52CC2739-6ACD-482B-B643-7DAF650FFCCB}"/>
                </a:ext>
              </a:extLst>
            </p:cNvPr>
            <p:cNvSpPr>
              <a:spLocks/>
            </p:cNvSpPr>
            <p:nvPr/>
          </p:nvSpPr>
          <p:spPr bwMode="auto">
            <a:xfrm>
              <a:off x="2169662" y="8327649"/>
              <a:ext cx="640404" cy="401174"/>
            </a:xfrm>
            <a:custGeom>
              <a:avLst/>
              <a:gdLst>
                <a:gd name="T0" fmla="*/ 184 w 184"/>
                <a:gd name="T1" fmla="*/ 115 h 115"/>
                <a:gd name="T2" fmla="*/ 134 w 184"/>
                <a:gd name="T3" fmla="*/ 93 h 115"/>
                <a:gd name="T4" fmla="*/ 88 w 184"/>
                <a:gd name="T5" fmla="*/ 64 h 115"/>
                <a:gd name="T6" fmla="*/ 44 w 184"/>
                <a:gd name="T7" fmla="*/ 32 h 115"/>
                <a:gd name="T8" fmla="*/ 0 w 184"/>
                <a:gd name="T9" fmla="*/ 0 h 115"/>
                <a:gd name="T10" fmla="*/ 41 w 184"/>
                <a:gd name="T11" fmla="*/ 37 h 115"/>
                <a:gd name="T12" fmla="*/ 84 w 184"/>
                <a:gd name="T13" fmla="*/ 70 h 115"/>
                <a:gd name="T14" fmla="*/ 131 w 184"/>
                <a:gd name="T15" fmla="*/ 98 h 115"/>
                <a:gd name="T16" fmla="*/ 184 w 184"/>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4" h="115">
                  <a:moveTo>
                    <a:pt x="184" y="115"/>
                  </a:moveTo>
                  <a:cubicBezTo>
                    <a:pt x="166" y="110"/>
                    <a:pt x="150" y="102"/>
                    <a:pt x="134" y="93"/>
                  </a:cubicBezTo>
                  <a:cubicBezTo>
                    <a:pt x="118" y="84"/>
                    <a:pt x="103" y="74"/>
                    <a:pt x="88" y="64"/>
                  </a:cubicBezTo>
                  <a:cubicBezTo>
                    <a:pt x="73" y="54"/>
                    <a:pt x="59" y="43"/>
                    <a:pt x="44" y="32"/>
                  </a:cubicBezTo>
                  <a:cubicBezTo>
                    <a:pt x="30" y="21"/>
                    <a:pt x="15" y="10"/>
                    <a:pt x="0" y="0"/>
                  </a:cubicBezTo>
                  <a:cubicBezTo>
                    <a:pt x="13" y="13"/>
                    <a:pt x="27" y="25"/>
                    <a:pt x="41" y="37"/>
                  </a:cubicBezTo>
                  <a:cubicBezTo>
                    <a:pt x="55" y="48"/>
                    <a:pt x="69" y="59"/>
                    <a:pt x="84" y="70"/>
                  </a:cubicBezTo>
                  <a:cubicBezTo>
                    <a:pt x="99" y="80"/>
                    <a:pt x="115" y="90"/>
                    <a:pt x="131" y="98"/>
                  </a:cubicBezTo>
                  <a:cubicBezTo>
                    <a:pt x="148" y="106"/>
                    <a:pt x="165" y="113"/>
                    <a:pt x="184" y="11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8" name="Freeform 27">
              <a:extLst>
                <a:ext uri="{FF2B5EF4-FFF2-40B4-BE49-F238E27FC236}">
                  <a16:creationId xmlns:a16="http://schemas.microsoft.com/office/drawing/2014/main" id="{57042E0D-8CD8-4DD3-8A6B-F319CD12B2BD}"/>
                </a:ext>
              </a:extLst>
            </p:cNvPr>
            <p:cNvSpPr>
              <a:spLocks/>
            </p:cNvSpPr>
            <p:nvPr/>
          </p:nvSpPr>
          <p:spPr bwMode="auto">
            <a:xfrm>
              <a:off x="3649216" y="7521622"/>
              <a:ext cx="323882" cy="198746"/>
            </a:xfrm>
            <a:custGeom>
              <a:avLst/>
              <a:gdLst>
                <a:gd name="T0" fmla="*/ 93 w 93"/>
                <a:gd name="T1" fmla="*/ 0 h 57"/>
                <a:gd name="T2" fmla="*/ 73 w 93"/>
                <a:gd name="T3" fmla="*/ 19 h 57"/>
                <a:gd name="T4" fmla="*/ 51 w 93"/>
                <a:gd name="T5" fmla="*/ 34 h 57"/>
                <a:gd name="T6" fmla="*/ 26 w 93"/>
                <a:gd name="T7" fmla="*/ 46 h 57"/>
                <a:gd name="T8" fmla="*/ 0 w 93"/>
                <a:gd name="T9" fmla="*/ 57 h 57"/>
                <a:gd name="T10" fmla="*/ 28 w 93"/>
                <a:gd name="T11" fmla="*/ 52 h 57"/>
                <a:gd name="T12" fmla="*/ 54 w 93"/>
                <a:gd name="T13" fmla="*/ 40 h 57"/>
                <a:gd name="T14" fmla="*/ 77 w 93"/>
                <a:gd name="T15" fmla="*/ 23 h 57"/>
                <a:gd name="T16" fmla="*/ 93 w 93"/>
                <a:gd name="T17"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57">
                  <a:moveTo>
                    <a:pt x="93" y="0"/>
                  </a:moveTo>
                  <a:cubicBezTo>
                    <a:pt x="87" y="7"/>
                    <a:pt x="80" y="13"/>
                    <a:pt x="73" y="19"/>
                  </a:cubicBezTo>
                  <a:cubicBezTo>
                    <a:pt x="66" y="25"/>
                    <a:pt x="59" y="30"/>
                    <a:pt x="51" y="34"/>
                  </a:cubicBezTo>
                  <a:cubicBezTo>
                    <a:pt x="43" y="39"/>
                    <a:pt x="35" y="43"/>
                    <a:pt x="26" y="46"/>
                  </a:cubicBezTo>
                  <a:cubicBezTo>
                    <a:pt x="18" y="50"/>
                    <a:pt x="9" y="53"/>
                    <a:pt x="0" y="57"/>
                  </a:cubicBezTo>
                  <a:cubicBezTo>
                    <a:pt x="10" y="56"/>
                    <a:pt x="19" y="54"/>
                    <a:pt x="28" y="52"/>
                  </a:cubicBezTo>
                  <a:cubicBezTo>
                    <a:pt x="37" y="49"/>
                    <a:pt x="46" y="45"/>
                    <a:pt x="54" y="40"/>
                  </a:cubicBezTo>
                  <a:cubicBezTo>
                    <a:pt x="62" y="36"/>
                    <a:pt x="70" y="30"/>
                    <a:pt x="77" y="23"/>
                  </a:cubicBezTo>
                  <a:cubicBezTo>
                    <a:pt x="84" y="16"/>
                    <a:pt x="89" y="8"/>
                    <a:pt x="9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29" name="Freeform 28">
              <a:extLst>
                <a:ext uri="{FF2B5EF4-FFF2-40B4-BE49-F238E27FC236}">
                  <a16:creationId xmlns:a16="http://schemas.microsoft.com/office/drawing/2014/main" id="{387B6A55-0C45-4CD9-B35C-0C1BF01E6C4C}"/>
                </a:ext>
              </a:extLst>
            </p:cNvPr>
            <p:cNvSpPr>
              <a:spLocks/>
            </p:cNvSpPr>
            <p:nvPr/>
          </p:nvSpPr>
          <p:spPr bwMode="auto">
            <a:xfrm>
              <a:off x="3479914" y="7315515"/>
              <a:ext cx="121457" cy="511588"/>
            </a:xfrm>
            <a:custGeom>
              <a:avLst/>
              <a:gdLst>
                <a:gd name="T0" fmla="*/ 35 w 35"/>
                <a:gd name="T1" fmla="*/ 147 h 147"/>
                <a:gd name="T2" fmla="*/ 23 w 35"/>
                <a:gd name="T3" fmla="*/ 111 h 147"/>
                <a:gd name="T4" fmla="*/ 13 w 35"/>
                <a:gd name="T5" fmla="*/ 75 h 147"/>
                <a:gd name="T6" fmla="*/ 6 w 35"/>
                <a:gd name="T7" fmla="*/ 37 h 147"/>
                <a:gd name="T8" fmla="*/ 2 w 35"/>
                <a:gd name="T9" fmla="*/ 0 h 147"/>
                <a:gd name="T10" fmla="*/ 0 w 35"/>
                <a:gd name="T11" fmla="*/ 38 h 147"/>
                <a:gd name="T12" fmla="*/ 6 w 35"/>
                <a:gd name="T13" fmla="*/ 76 h 147"/>
                <a:gd name="T14" fmla="*/ 18 w 35"/>
                <a:gd name="T15" fmla="*/ 113 h 147"/>
                <a:gd name="T16" fmla="*/ 35 w 35"/>
                <a:gd name="T17"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147">
                  <a:moveTo>
                    <a:pt x="35" y="147"/>
                  </a:moveTo>
                  <a:cubicBezTo>
                    <a:pt x="31" y="135"/>
                    <a:pt x="27" y="123"/>
                    <a:pt x="23" y="111"/>
                  </a:cubicBezTo>
                  <a:cubicBezTo>
                    <a:pt x="19" y="99"/>
                    <a:pt x="16" y="87"/>
                    <a:pt x="13" y="75"/>
                  </a:cubicBezTo>
                  <a:cubicBezTo>
                    <a:pt x="10" y="62"/>
                    <a:pt x="8" y="50"/>
                    <a:pt x="6" y="37"/>
                  </a:cubicBezTo>
                  <a:cubicBezTo>
                    <a:pt x="4" y="25"/>
                    <a:pt x="3" y="12"/>
                    <a:pt x="2" y="0"/>
                  </a:cubicBezTo>
                  <a:cubicBezTo>
                    <a:pt x="0" y="12"/>
                    <a:pt x="0" y="25"/>
                    <a:pt x="0" y="38"/>
                  </a:cubicBezTo>
                  <a:cubicBezTo>
                    <a:pt x="1" y="51"/>
                    <a:pt x="3" y="64"/>
                    <a:pt x="6" y="76"/>
                  </a:cubicBezTo>
                  <a:cubicBezTo>
                    <a:pt x="9" y="89"/>
                    <a:pt x="13" y="101"/>
                    <a:pt x="18" y="113"/>
                  </a:cubicBezTo>
                  <a:cubicBezTo>
                    <a:pt x="23" y="125"/>
                    <a:pt x="28" y="137"/>
                    <a:pt x="35"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30" name="Freeform 29">
              <a:extLst>
                <a:ext uri="{FF2B5EF4-FFF2-40B4-BE49-F238E27FC236}">
                  <a16:creationId xmlns:a16="http://schemas.microsoft.com/office/drawing/2014/main" id="{0E524617-97FB-4B2E-9AFC-B299045D78D5}"/>
                </a:ext>
              </a:extLst>
            </p:cNvPr>
            <p:cNvSpPr>
              <a:spLocks/>
            </p:cNvSpPr>
            <p:nvPr/>
          </p:nvSpPr>
          <p:spPr bwMode="auto">
            <a:xfrm>
              <a:off x="3413665" y="8047932"/>
              <a:ext cx="574155" cy="198746"/>
            </a:xfrm>
            <a:custGeom>
              <a:avLst/>
              <a:gdLst>
                <a:gd name="T0" fmla="*/ 0 w 165"/>
                <a:gd name="T1" fmla="*/ 57 h 57"/>
                <a:gd name="T2" fmla="*/ 44 w 165"/>
                <a:gd name="T3" fmla="*/ 53 h 57"/>
                <a:gd name="T4" fmla="*/ 87 w 165"/>
                <a:gd name="T5" fmla="*/ 42 h 57"/>
                <a:gd name="T6" fmla="*/ 128 w 165"/>
                <a:gd name="T7" fmla="*/ 24 h 57"/>
                <a:gd name="T8" fmla="*/ 165 w 165"/>
                <a:gd name="T9" fmla="*/ 0 h 57"/>
                <a:gd name="T10" fmla="*/ 125 w 165"/>
                <a:gd name="T11" fmla="*/ 19 h 57"/>
                <a:gd name="T12" fmla="*/ 85 w 165"/>
                <a:gd name="T13" fmla="*/ 35 h 57"/>
                <a:gd name="T14" fmla="*/ 43 w 165"/>
                <a:gd name="T15" fmla="*/ 48 h 57"/>
                <a:gd name="T16" fmla="*/ 0 w 165"/>
                <a:gd name="T1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57">
                  <a:moveTo>
                    <a:pt x="0" y="57"/>
                  </a:moveTo>
                  <a:cubicBezTo>
                    <a:pt x="15" y="57"/>
                    <a:pt x="30" y="56"/>
                    <a:pt x="44" y="53"/>
                  </a:cubicBezTo>
                  <a:cubicBezTo>
                    <a:pt x="59" y="50"/>
                    <a:pt x="73" y="46"/>
                    <a:pt x="87" y="42"/>
                  </a:cubicBezTo>
                  <a:cubicBezTo>
                    <a:pt x="101" y="37"/>
                    <a:pt x="115" y="31"/>
                    <a:pt x="128" y="24"/>
                  </a:cubicBezTo>
                  <a:cubicBezTo>
                    <a:pt x="141" y="17"/>
                    <a:pt x="153" y="9"/>
                    <a:pt x="165" y="0"/>
                  </a:cubicBezTo>
                  <a:cubicBezTo>
                    <a:pt x="152" y="7"/>
                    <a:pt x="139" y="13"/>
                    <a:pt x="125" y="19"/>
                  </a:cubicBezTo>
                  <a:cubicBezTo>
                    <a:pt x="112" y="25"/>
                    <a:pt x="99" y="30"/>
                    <a:pt x="85" y="35"/>
                  </a:cubicBezTo>
                  <a:cubicBezTo>
                    <a:pt x="71" y="40"/>
                    <a:pt x="57" y="44"/>
                    <a:pt x="43" y="48"/>
                  </a:cubicBezTo>
                  <a:cubicBezTo>
                    <a:pt x="29" y="51"/>
                    <a:pt x="15" y="54"/>
                    <a:pt x="0"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31" name="Freeform 30">
              <a:extLst>
                <a:ext uri="{FF2B5EF4-FFF2-40B4-BE49-F238E27FC236}">
                  <a16:creationId xmlns:a16="http://schemas.microsoft.com/office/drawing/2014/main" id="{20F3E50C-07B8-460A-B026-F7502EB663C7}"/>
                </a:ext>
              </a:extLst>
            </p:cNvPr>
            <p:cNvSpPr>
              <a:spLocks/>
            </p:cNvSpPr>
            <p:nvPr/>
          </p:nvSpPr>
          <p:spPr bwMode="auto">
            <a:xfrm>
              <a:off x="3218601" y="7764534"/>
              <a:ext cx="106735" cy="677209"/>
            </a:xfrm>
            <a:custGeom>
              <a:avLst/>
              <a:gdLst>
                <a:gd name="T0" fmla="*/ 31 w 31"/>
                <a:gd name="T1" fmla="*/ 194 h 194"/>
                <a:gd name="T2" fmla="*/ 19 w 31"/>
                <a:gd name="T3" fmla="*/ 146 h 194"/>
                <a:gd name="T4" fmla="*/ 11 w 31"/>
                <a:gd name="T5" fmla="*/ 98 h 194"/>
                <a:gd name="T6" fmla="*/ 6 w 31"/>
                <a:gd name="T7" fmla="*/ 49 h 194"/>
                <a:gd name="T8" fmla="*/ 3 w 31"/>
                <a:gd name="T9" fmla="*/ 0 h 194"/>
                <a:gd name="T10" fmla="*/ 0 w 31"/>
                <a:gd name="T11" fmla="*/ 49 h 194"/>
                <a:gd name="T12" fmla="*/ 4 w 31"/>
                <a:gd name="T13" fmla="*/ 99 h 194"/>
                <a:gd name="T14" fmla="*/ 14 w 31"/>
                <a:gd name="T15" fmla="*/ 148 h 194"/>
                <a:gd name="T16" fmla="*/ 31 w 31"/>
                <a:gd name="T1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94">
                  <a:moveTo>
                    <a:pt x="31" y="194"/>
                  </a:moveTo>
                  <a:cubicBezTo>
                    <a:pt x="27" y="178"/>
                    <a:pt x="22" y="162"/>
                    <a:pt x="19" y="146"/>
                  </a:cubicBezTo>
                  <a:cubicBezTo>
                    <a:pt x="16" y="130"/>
                    <a:pt x="13" y="114"/>
                    <a:pt x="11" y="98"/>
                  </a:cubicBezTo>
                  <a:cubicBezTo>
                    <a:pt x="9" y="82"/>
                    <a:pt x="7" y="65"/>
                    <a:pt x="6" y="49"/>
                  </a:cubicBezTo>
                  <a:cubicBezTo>
                    <a:pt x="5" y="32"/>
                    <a:pt x="4" y="16"/>
                    <a:pt x="3" y="0"/>
                  </a:cubicBezTo>
                  <a:cubicBezTo>
                    <a:pt x="1" y="16"/>
                    <a:pt x="0" y="33"/>
                    <a:pt x="0" y="49"/>
                  </a:cubicBezTo>
                  <a:cubicBezTo>
                    <a:pt x="0" y="66"/>
                    <a:pt x="2" y="82"/>
                    <a:pt x="4" y="99"/>
                  </a:cubicBezTo>
                  <a:cubicBezTo>
                    <a:pt x="6" y="115"/>
                    <a:pt x="9" y="132"/>
                    <a:pt x="14" y="148"/>
                  </a:cubicBezTo>
                  <a:cubicBezTo>
                    <a:pt x="18" y="164"/>
                    <a:pt x="24" y="179"/>
                    <a:pt x="31" y="1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32" name="Freeform 31">
              <a:extLst>
                <a:ext uri="{FF2B5EF4-FFF2-40B4-BE49-F238E27FC236}">
                  <a16:creationId xmlns:a16="http://schemas.microsoft.com/office/drawing/2014/main" id="{442DB156-92C3-496E-8563-86C3E5EA1238}"/>
                </a:ext>
              </a:extLst>
            </p:cNvPr>
            <p:cNvSpPr>
              <a:spLocks/>
            </p:cNvSpPr>
            <p:nvPr/>
          </p:nvSpPr>
          <p:spPr bwMode="auto">
            <a:xfrm>
              <a:off x="3211240" y="8544796"/>
              <a:ext cx="493184" cy="158262"/>
            </a:xfrm>
            <a:custGeom>
              <a:avLst/>
              <a:gdLst>
                <a:gd name="T0" fmla="*/ 0 w 142"/>
                <a:gd name="T1" fmla="*/ 43 h 45"/>
                <a:gd name="T2" fmla="*/ 38 w 142"/>
                <a:gd name="T3" fmla="*/ 44 h 45"/>
                <a:gd name="T4" fmla="*/ 75 w 142"/>
                <a:gd name="T5" fmla="*/ 35 h 45"/>
                <a:gd name="T6" fmla="*/ 110 w 142"/>
                <a:gd name="T7" fmla="*/ 20 h 45"/>
                <a:gd name="T8" fmla="*/ 142 w 142"/>
                <a:gd name="T9" fmla="*/ 0 h 45"/>
                <a:gd name="T10" fmla="*/ 107 w 142"/>
                <a:gd name="T11" fmla="*/ 15 h 45"/>
                <a:gd name="T12" fmla="*/ 73 w 142"/>
                <a:gd name="T13" fmla="*/ 28 h 45"/>
                <a:gd name="T14" fmla="*/ 37 w 142"/>
                <a:gd name="T15" fmla="*/ 38 h 45"/>
                <a:gd name="T16" fmla="*/ 0 w 142"/>
                <a:gd name="T17"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45">
                  <a:moveTo>
                    <a:pt x="0" y="43"/>
                  </a:moveTo>
                  <a:cubicBezTo>
                    <a:pt x="13" y="45"/>
                    <a:pt x="26" y="45"/>
                    <a:pt x="38" y="44"/>
                  </a:cubicBezTo>
                  <a:cubicBezTo>
                    <a:pt x="51" y="42"/>
                    <a:pt x="63" y="39"/>
                    <a:pt x="75" y="35"/>
                  </a:cubicBezTo>
                  <a:cubicBezTo>
                    <a:pt x="87" y="31"/>
                    <a:pt x="99" y="26"/>
                    <a:pt x="110" y="20"/>
                  </a:cubicBezTo>
                  <a:cubicBezTo>
                    <a:pt x="121" y="14"/>
                    <a:pt x="132" y="7"/>
                    <a:pt x="142" y="0"/>
                  </a:cubicBezTo>
                  <a:cubicBezTo>
                    <a:pt x="107" y="15"/>
                    <a:pt x="107" y="15"/>
                    <a:pt x="107" y="15"/>
                  </a:cubicBezTo>
                  <a:cubicBezTo>
                    <a:pt x="96" y="20"/>
                    <a:pt x="84" y="24"/>
                    <a:pt x="73" y="28"/>
                  </a:cubicBezTo>
                  <a:cubicBezTo>
                    <a:pt x="61" y="32"/>
                    <a:pt x="49" y="36"/>
                    <a:pt x="37" y="38"/>
                  </a:cubicBezTo>
                  <a:cubicBezTo>
                    <a:pt x="25" y="41"/>
                    <a:pt x="13" y="43"/>
                    <a:pt x="0"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33" name="Freeform 32">
              <a:extLst>
                <a:ext uri="{FF2B5EF4-FFF2-40B4-BE49-F238E27FC236}">
                  <a16:creationId xmlns:a16="http://schemas.microsoft.com/office/drawing/2014/main" id="{001CB5CD-A49E-4E62-A3B1-37D9717298AE}"/>
                </a:ext>
              </a:extLst>
            </p:cNvPr>
            <p:cNvSpPr>
              <a:spLocks/>
            </p:cNvSpPr>
            <p:nvPr/>
          </p:nvSpPr>
          <p:spPr bwMode="auto">
            <a:xfrm>
              <a:off x="2276398" y="9420751"/>
              <a:ext cx="1821839" cy="1026855"/>
            </a:xfrm>
            <a:custGeom>
              <a:avLst/>
              <a:gdLst>
                <a:gd name="T0" fmla="*/ 0 w 495"/>
                <a:gd name="T1" fmla="*/ 0 h 279"/>
                <a:gd name="T2" fmla="*/ 57 w 495"/>
                <a:gd name="T3" fmla="*/ 279 h 279"/>
                <a:gd name="T4" fmla="*/ 418 w 495"/>
                <a:gd name="T5" fmla="*/ 234 h 279"/>
                <a:gd name="T6" fmla="*/ 495 w 495"/>
                <a:gd name="T7" fmla="*/ 0 h 279"/>
                <a:gd name="T8" fmla="*/ 0 w 495"/>
                <a:gd name="T9" fmla="*/ 0 h 279"/>
              </a:gdLst>
              <a:ahLst/>
              <a:cxnLst>
                <a:cxn ang="0">
                  <a:pos x="T0" y="T1"/>
                </a:cxn>
                <a:cxn ang="0">
                  <a:pos x="T2" y="T3"/>
                </a:cxn>
                <a:cxn ang="0">
                  <a:pos x="T4" y="T5"/>
                </a:cxn>
                <a:cxn ang="0">
                  <a:pos x="T6" y="T7"/>
                </a:cxn>
                <a:cxn ang="0">
                  <a:pos x="T8" y="T9"/>
                </a:cxn>
              </a:cxnLst>
              <a:rect l="0" t="0" r="r" b="b"/>
              <a:pathLst>
                <a:path w="495" h="279">
                  <a:moveTo>
                    <a:pt x="0" y="0"/>
                  </a:moveTo>
                  <a:lnTo>
                    <a:pt x="57" y="279"/>
                  </a:lnTo>
                  <a:lnTo>
                    <a:pt x="418" y="234"/>
                  </a:lnTo>
                  <a:lnTo>
                    <a:pt x="495" y="0"/>
                  </a:lnTo>
                  <a:lnTo>
                    <a:pt x="0" y="0"/>
                  </a:lnTo>
                  <a:close/>
                </a:path>
              </a:pathLst>
            </a:custGeom>
            <a:solidFill>
              <a:srgbClr val="0727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34" name="Freeform 33">
              <a:extLst>
                <a:ext uri="{FF2B5EF4-FFF2-40B4-BE49-F238E27FC236}">
                  <a16:creationId xmlns:a16="http://schemas.microsoft.com/office/drawing/2014/main" id="{DED07F0C-41EA-4E6B-8A7C-D0814241872F}"/>
                </a:ext>
              </a:extLst>
            </p:cNvPr>
            <p:cNvSpPr>
              <a:spLocks/>
            </p:cNvSpPr>
            <p:nvPr/>
          </p:nvSpPr>
          <p:spPr bwMode="auto">
            <a:xfrm>
              <a:off x="2276398" y="9420751"/>
              <a:ext cx="312842" cy="1026855"/>
            </a:xfrm>
            <a:custGeom>
              <a:avLst/>
              <a:gdLst>
                <a:gd name="T0" fmla="*/ 0 w 85"/>
                <a:gd name="T1" fmla="*/ 0 h 279"/>
                <a:gd name="T2" fmla="*/ 57 w 85"/>
                <a:gd name="T3" fmla="*/ 279 h 279"/>
                <a:gd name="T4" fmla="*/ 85 w 85"/>
                <a:gd name="T5" fmla="*/ 279 h 279"/>
                <a:gd name="T6" fmla="*/ 28 w 85"/>
                <a:gd name="T7" fmla="*/ 0 h 279"/>
                <a:gd name="T8" fmla="*/ 0 w 85"/>
                <a:gd name="T9" fmla="*/ 0 h 279"/>
              </a:gdLst>
              <a:ahLst/>
              <a:cxnLst>
                <a:cxn ang="0">
                  <a:pos x="T0" y="T1"/>
                </a:cxn>
                <a:cxn ang="0">
                  <a:pos x="T2" y="T3"/>
                </a:cxn>
                <a:cxn ang="0">
                  <a:pos x="T4" y="T5"/>
                </a:cxn>
                <a:cxn ang="0">
                  <a:pos x="T6" y="T7"/>
                </a:cxn>
                <a:cxn ang="0">
                  <a:pos x="T8" y="T9"/>
                </a:cxn>
              </a:cxnLst>
              <a:rect l="0" t="0" r="r" b="b"/>
              <a:pathLst>
                <a:path w="85" h="279">
                  <a:moveTo>
                    <a:pt x="0" y="0"/>
                  </a:moveTo>
                  <a:lnTo>
                    <a:pt x="57" y="279"/>
                  </a:lnTo>
                  <a:lnTo>
                    <a:pt x="85" y="279"/>
                  </a:lnTo>
                  <a:lnTo>
                    <a:pt x="28" y="0"/>
                  </a:lnTo>
                  <a:lnTo>
                    <a:pt x="0" y="0"/>
                  </a:lnTo>
                  <a:close/>
                </a:path>
              </a:pathLst>
            </a:custGeom>
            <a:solidFill>
              <a:srgbClr val="031C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grpSp>
      <p:grpSp>
        <p:nvGrpSpPr>
          <p:cNvPr id="135" name="Group 97">
            <a:extLst>
              <a:ext uri="{FF2B5EF4-FFF2-40B4-BE49-F238E27FC236}">
                <a16:creationId xmlns:a16="http://schemas.microsoft.com/office/drawing/2014/main" id="{9D61E5F7-8132-4900-B303-40A433CCFACB}"/>
              </a:ext>
            </a:extLst>
          </p:cNvPr>
          <p:cNvGrpSpPr/>
          <p:nvPr/>
        </p:nvGrpSpPr>
        <p:grpSpPr>
          <a:xfrm>
            <a:off x="3568692" y="4025728"/>
            <a:ext cx="1751681" cy="1273281"/>
            <a:chOff x="7138312" y="8051612"/>
            <a:chExt cx="3503818" cy="2546893"/>
          </a:xfrm>
        </p:grpSpPr>
        <p:sp>
          <p:nvSpPr>
            <p:cNvPr id="136" name="Freeform 35">
              <a:extLst>
                <a:ext uri="{FF2B5EF4-FFF2-40B4-BE49-F238E27FC236}">
                  <a16:creationId xmlns:a16="http://schemas.microsoft.com/office/drawing/2014/main" id="{2790AF4C-BBD7-4C89-BCE8-4ACB730D7DB5}"/>
                </a:ext>
              </a:extLst>
            </p:cNvPr>
            <p:cNvSpPr>
              <a:spLocks/>
            </p:cNvSpPr>
            <p:nvPr/>
          </p:nvSpPr>
          <p:spPr bwMode="auto">
            <a:xfrm>
              <a:off x="7138312" y="8051612"/>
              <a:ext cx="3503818" cy="2546893"/>
            </a:xfrm>
            <a:custGeom>
              <a:avLst/>
              <a:gdLst>
                <a:gd name="T0" fmla="*/ 946 w 1007"/>
                <a:gd name="T1" fmla="*/ 264 h 732"/>
                <a:gd name="T2" fmla="*/ 424 w 1007"/>
                <a:gd name="T3" fmla="*/ 699 h 732"/>
                <a:gd name="T4" fmla="*/ 335 w 1007"/>
                <a:gd name="T5" fmla="*/ 732 h 732"/>
                <a:gd name="T6" fmla="*/ 320 w 1007"/>
                <a:gd name="T7" fmla="*/ 731 h 732"/>
                <a:gd name="T8" fmla="*/ 225 w 1007"/>
                <a:gd name="T9" fmla="*/ 679 h 732"/>
                <a:gd name="T10" fmla="*/ 38 w 1007"/>
                <a:gd name="T11" fmla="*/ 443 h 732"/>
                <a:gd name="T12" fmla="*/ 15 w 1007"/>
                <a:gd name="T13" fmla="*/ 309 h 732"/>
                <a:gd name="T14" fmla="*/ 60 w 1007"/>
                <a:gd name="T15" fmla="*/ 246 h 732"/>
                <a:gd name="T16" fmla="*/ 257 w 1007"/>
                <a:gd name="T17" fmla="*/ 269 h 732"/>
                <a:gd name="T18" fmla="*/ 355 w 1007"/>
                <a:gd name="T19" fmla="*/ 392 h 732"/>
                <a:gd name="T20" fmla="*/ 767 w 1007"/>
                <a:gd name="T21" fmla="*/ 49 h 732"/>
                <a:gd name="T22" fmla="*/ 964 w 1007"/>
                <a:gd name="T23" fmla="*/ 67 h 732"/>
                <a:gd name="T24" fmla="*/ 988 w 1007"/>
                <a:gd name="T25" fmla="*/ 110 h 732"/>
                <a:gd name="T26" fmla="*/ 946 w 1007"/>
                <a:gd name="T27" fmla="*/ 264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7" h="732">
                  <a:moveTo>
                    <a:pt x="946" y="264"/>
                  </a:moveTo>
                  <a:cubicBezTo>
                    <a:pt x="424" y="699"/>
                    <a:pt x="424" y="699"/>
                    <a:pt x="424" y="699"/>
                  </a:cubicBezTo>
                  <a:cubicBezTo>
                    <a:pt x="399" y="720"/>
                    <a:pt x="367" y="732"/>
                    <a:pt x="335" y="732"/>
                  </a:cubicBezTo>
                  <a:cubicBezTo>
                    <a:pt x="330" y="732"/>
                    <a:pt x="325" y="731"/>
                    <a:pt x="320" y="731"/>
                  </a:cubicBezTo>
                  <a:cubicBezTo>
                    <a:pt x="283" y="727"/>
                    <a:pt x="249" y="708"/>
                    <a:pt x="225" y="679"/>
                  </a:cubicBezTo>
                  <a:cubicBezTo>
                    <a:pt x="38" y="443"/>
                    <a:pt x="38" y="443"/>
                    <a:pt x="38" y="443"/>
                  </a:cubicBezTo>
                  <a:cubicBezTo>
                    <a:pt x="6" y="404"/>
                    <a:pt x="0" y="353"/>
                    <a:pt x="15" y="309"/>
                  </a:cubicBezTo>
                  <a:cubicBezTo>
                    <a:pt x="24" y="285"/>
                    <a:pt x="39" y="263"/>
                    <a:pt x="60" y="246"/>
                  </a:cubicBezTo>
                  <a:cubicBezTo>
                    <a:pt x="120" y="198"/>
                    <a:pt x="208" y="208"/>
                    <a:pt x="257" y="269"/>
                  </a:cubicBezTo>
                  <a:cubicBezTo>
                    <a:pt x="355" y="392"/>
                    <a:pt x="355" y="392"/>
                    <a:pt x="355" y="392"/>
                  </a:cubicBezTo>
                  <a:cubicBezTo>
                    <a:pt x="767" y="49"/>
                    <a:pt x="767" y="49"/>
                    <a:pt x="767" y="49"/>
                  </a:cubicBezTo>
                  <a:cubicBezTo>
                    <a:pt x="826" y="0"/>
                    <a:pt x="914" y="8"/>
                    <a:pt x="964" y="67"/>
                  </a:cubicBezTo>
                  <a:cubicBezTo>
                    <a:pt x="975" y="80"/>
                    <a:pt x="983" y="95"/>
                    <a:pt x="988" y="110"/>
                  </a:cubicBezTo>
                  <a:cubicBezTo>
                    <a:pt x="1007" y="164"/>
                    <a:pt x="992" y="226"/>
                    <a:pt x="946" y="264"/>
                  </a:cubicBezTo>
                  <a:close/>
                </a:path>
              </a:pathLst>
            </a:custGeom>
            <a:solidFill>
              <a:srgbClr val="65BFA7"/>
            </a:solidFill>
            <a:ln>
              <a:noFill/>
            </a:ln>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37" name="Freeform 36">
              <a:extLst>
                <a:ext uri="{FF2B5EF4-FFF2-40B4-BE49-F238E27FC236}">
                  <a16:creationId xmlns:a16="http://schemas.microsoft.com/office/drawing/2014/main" id="{C2B1B0C4-33D5-46F3-8840-9262E0726752}"/>
                </a:ext>
              </a:extLst>
            </p:cNvPr>
            <p:cNvSpPr>
              <a:spLocks/>
            </p:cNvSpPr>
            <p:nvPr/>
          </p:nvSpPr>
          <p:spPr bwMode="auto">
            <a:xfrm>
              <a:off x="7189839" y="8051612"/>
              <a:ext cx="3386043" cy="2219331"/>
            </a:xfrm>
            <a:custGeom>
              <a:avLst/>
              <a:gdLst>
                <a:gd name="T0" fmla="*/ 973 w 973"/>
                <a:gd name="T1" fmla="*/ 110 h 638"/>
                <a:gd name="T2" fmla="*/ 931 w 973"/>
                <a:gd name="T3" fmla="*/ 171 h 638"/>
                <a:gd name="T4" fmla="*/ 409 w 973"/>
                <a:gd name="T5" fmla="*/ 605 h 638"/>
                <a:gd name="T6" fmla="*/ 320 w 973"/>
                <a:gd name="T7" fmla="*/ 638 h 638"/>
                <a:gd name="T8" fmla="*/ 305 w 973"/>
                <a:gd name="T9" fmla="*/ 637 h 638"/>
                <a:gd name="T10" fmla="*/ 210 w 973"/>
                <a:gd name="T11" fmla="*/ 585 h 638"/>
                <a:gd name="T12" fmla="*/ 23 w 973"/>
                <a:gd name="T13" fmla="*/ 349 h 638"/>
                <a:gd name="T14" fmla="*/ 0 w 973"/>
                <a:gd name="T15" fmla="*/ 309 h 638"/>
                <a:gd name="T16" fmla="*/ 45 w 973"/>
                <a:gd name="T17" fmla="*/ 246 h 638"/>
                <a:gd name="T18" fmla="*/ 242 w 973"/>
                <a:gd name="T19" fmla="*/ 269 h 638"/>
                <a:gd name="T20" fmla="*/ 340 w 973"/>
                <a:gd name="T21" fmla="*/ 392 h 638"/>
                <a:gd name="T22" fmla="*/ 752 w 973"/>
                <a:gd name="T23" fmla="*/ 49 h 638"/>
                <a:gd name="T24" fmla="*/ 949 w 973"/>
                <a:gd name="T25" fmla="*/ 67 h 638"/>
                <a:gd name="T26" fmla="*/ 973 w 973"/>
                <a:gd name="T27" fmla="*/ 110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3" h="638">
                  <a:moveTo>
                    <a:pt x="973" y="110"/>
                  </a:moveTo>
                  <a:cubicBezTo>
                    <a:pt x="965" y="133"/>
                    <a:pt x="951" y="154"/>
                    <a:pt x="931" y="171"/>
                  </a:cubicBezTo>
                  <a:cubicBezTo>
                    <a:pt x="409" y="605"/>
                    <a:pt x="409" y="605"/>
                    <a:pt x="409" y="605"/>
                  </a:cubicBezTo>
                  <a:cubicBezTo>
                    <a:pt x="384" y="626"/>
                    <a:pt x="352" y="638"/>
                    <a:pt x="320" y="638"/>
                  </a:cubicBezTo>
                  <a:cubicBezTo>
                    <a:pt x="315" y="638"/>
                    <a:pt x="310" y="637"/>
                    <a:pt x="305" y="637"/>
                  </a:cubicBezTo>
                  <a:cubicBezTo>
                    <a:pt x="268" y="633"/>
                    <a:pt x="234" y="614"/>
                    <a:pt x="210" y="585"/>
                  </a:cubicBezTo>
                  <a:cubicBezTo>
                    <a:pt x="23" y="349"/>
                    <a:pt x="23" y="349"/>
                    <a:pt x="23" y="349"/>
                  </a:cubicBezTo>
                  <a:cubicBezTo>
                    <a:pt x="13" y="337"/>
                    <a:pt x="5" y="323"/>
                    <a:pt x="0" y="309"/>
                  </a:cubicBezTo>
                  <a:cubicBezTo>
                    <a:pt x="9" y="285"/>
                    <a:pt x="24" y="263"/>
                    <a:pt x="45" y="246"/>
                  </a:cubicBezTo>
                  <a:cubicBezTo>
                    <a:pt x="105" y="198"/>
                    <a:pt x="193" y="208"/>
                    <a:pt x="242" y="269"/>
                  </a:cubicBezTo>
                  <a:cubicBezTo>
                    <a:pt x="340" y="392"/>
                    <a:pt x="340" y="392"/>
                    <a:pt x="340" y="392"/>
                  </a:cubicBezTo>
                  <a:cubicBezTo>
                    <a:pt x="752" y="49"/>
                    <a:pt x="752" y="49"/>
                    <a:pt x="752" y="49"/>
                  </a:cubicBezTo>
                  <a:cubicBezTo>
                    <a:pt x="811" y="0"/>
                    <a:pt x="899" y="8"/>
                    <a:pt x="949" y="67"/>
                  </a:cubicBezTo>
                  <a:cubicBezTo>
                    <a:pt x="960" y="80"/>
                    <a:pt x="968" y="95"/>
                    <a:pt x="973" y="110"/>
                  </a:cubicBezTo>
                  <a:close/>
                </a:path>
              </a:pathLst>
            </a:custGeom>
            <a:solidFill>
              <a:srgbClr val="AEDCD0"/>
            </a:solidFill>
            <a:ln>
              <a:noFill/>
            </a:ln>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38" name="Freeform 37">
              <a:extLst>
                <a:ext uri="{FF2B5EF4-FFF2-40B4-BE49-F238E27FC236}">
                  <a16:creationId xmlns:a16="http://schemas.microsoft.com/office/drawing/2014/main" id="{809E4D3E-A3C3-4475-BA08-6F60AD0B70B4}"/>
                </a:ext>
              </a:extLst>
            </p:cNvPr>
            <p:cNvSpPr>
              <a:spLocks/>
            </p:cNvSpPr>
            <p:nvPr/>
          </p:nvSpPr>
          <p:spPr bwMode="auto">
            <a:xfrm>
              <a:off x="9394448" y="8309245"/>
              <a:ext cx="710334" cy="625682"/>
            </a:xfrm>
            <a:custGeom>
              <a:avLst/>
              <a:gdLst>
                <a:gd name="T0" fmla="*/ 195 w 204"/>
                <a:gd name="T1" fmla="*/ 37 h 180"/>
                <a:gd name="T2" fmla="*/ 35 w 204"/>
                <a:gd name="T3" fmla="*/ 173 h 180"/>
                <a:gd name="T4" fmla="*/ 7 w 204"/>
                <a:gd name="T5" fmla="*/ 171 h 180"/>
                <a:gd name="T6" fmla="*/ 7 w 204"/>
                <a:gd name="T7" fmla="*/ 171 h 180"/>
                <a:gd name="T8" fmla="*/ 9 w 204"/>
                <a:gd name="T9" fmla="*/ 143 h 180"/>
                <a:gd name="T10" fmla="*/ 169 w 204"/>
                <a:gd name="T11" fmla="*/ 7 h 180"/>
                <a:gd name="T12" fmla="*/ 197 w 204"/>
                <a:gd name="T13" fmla="*/ 9 h 180"/>
                <a:gd name="T14" fmla="*/ 197 w 204"/>
                <a:gd name="T15" fmla="*/ 9 h 180"/>
                <a:gd name="T16" fmla="*/ 195 w 204"/>
                <a:gd name="T17" fmla="*/ 3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 h="180">
                  <a:moveTo>
                    <a:pt x="195" y="37"/>
                  </a:moveTo>
                  <a:cubicBezTo>
                    <a:pt x="35" y="173"/>
                    <a:pt x="35" y="173"/>
                    <a:pt x="35" y="173"/>
                  </a:cubicBezTo>
                  <a:cubicBezTo>
                    <a:pt x="26" y="180"/>
                    <a:pt x="14" y="179"/>
                    <a:pt x="7" y="171"/>
                  </a:cubicBezTo>
                  <a:cubicBezTo>
                    <a:pt x="7" y="171"/>
                    <a:pt x="7" y="171"/>
                    <a:pt x="7" y="171"/>
                  </a:cubicBezTo>
                  <a:cubicBezTo>
                    <a:pt x="0" y="163"/>
                    <a:pt x="1" y="150"/>
                    <a:pt x="9" y="143"/>
                  </a:cubicBezTo>
                  <a:cubicBezTo>
                    <a:pt x="169" y="7"/>
                    <a:pt x="169" y="7"/>
                    <a:pt x="169" y="7"/>
                  </a:cubicBezTo>
                  <a:cubicBezTo>
                    <a:pt x="177" y="0"/>
                    <a:pt x="190" y="1"/>
                    <a:pt x="197" y="9"/>
                  </a:cubicBezTo>
                  <a:cubicBezTo>
                    <a:pt x="197" y="9"/>
                    <a:pt x="197" y="9"/>
                    <a:pt x="197" y="9"/>
                  </a:cubicBezTo>
                  <a:cubicBezTo>
                    <a:pt x="204" y="18"/>
                    <a:pt x="203" y="30"/>
                    <a:pt x="195" y="37"/>
                  </a:cubicBezTo>
                  <a:close/>
                </a:path>
              </a:pathLst>
            </a:custGeom>
            <a:solidFill>
              <a:schemeClr val="accent1">
                <a:lumMod val="20000"/>
                <a:lumOff val="80000"/>
              </a:schemeClr>
            </a:solidFill>
            <a:ln>
              <a:noFill/>
            </a:ln>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39" name="Freeform 38">
              <a:extLst>
                <a:ext uri="{FF2B5EF4-FFF2-40B4-BE49-F238E27FC236}">
                  <a16:creationId xmlns:a16="http://schemas.microsoft.com/office/drawing/2014/main" id="{67EC08D5-D45D-47A7-92EC-CE18D816DD30}"/>
                </a:ext>
              </a:extLst>
            </p:cNvPr>
            <p:cNvSpPr>
              <a:spLocks/>
            </p:cNvSpPr>
            <p:nvPr/>
          </p:nvSpPr>
          <p:spPr bwMode="auto">
            <a:xfrm>
              <a:off x="9070566" y="8949649"/>
              <a:ext cx="279717" cy="261315"/>
            </a:xfrm>
            <a:custGeom>
              <a:avLst/>
              <a:gdLst>
                <a:gd name="T0" fmla="*/ 71 w 80"/>
                <a:gd name="T1" fmla="*/ 38 h 75"/>
                <a:gd name="T2" fmla="*/ 35 w 80"/>
                <a:gd name="T3" fmla="*/ 68 h 75"/>
                <a:gd name="T4" fmla="*/ 7 w 80"/>
                <a:gd name="T5" fmla="*/ 65 h 75"/>
                <a:gd name="T6" fmla="*/ 7 w 80"/>
                <a:gd name="T7" fmla="*/ 65 h 75"/>
                <a:gd name="T8" fmla="*/ 10 w 80"/>
                <a:gd name="T9" fmla="*/ 37 h 75"/>
                <a:gd name="T10" fmla="*/ 45 w 80"/>
                <a:gd name="T11" fmla="*/ 7 h 75"/>
                <a:gd name="T12" fmla="*/ 73 w 80"/>
                <a:gd name="T13" fmla="*/ 10 h 75"/>
                <a:gd name="T14" fmla="*/ 73 w 80"/>
                <a:gd name="T15" fmla="*/ 10 h 75"/>
                <a:gd name="T16" fmla="*/ 71 w 80"/>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75">
                  <a:moveTo>
                    <a:pt x="71" y="38"/>
                  </a:moveTo>
                  <a:cubicBezTo>
                    <a:pt x="35" y="68"/>
                    <a:pt x="35" y="68"/>
                    <a:pt x="35" y="68"/>
                  </a:cubicBezTo>
                  <a:cubicBezTo>
                    <a:pt x="27" y="75"/>
                    <a:pt x="14" y="74"/>
                    <a:pt x="7" y="65"/>
                  </a:cubicBezTo>
                  <a:cubicBezTo>
                    <a:pt x="7" y="65"/>
                    <a:pt x="7" y="65"/>
                    <a:pt x="7" y="65"/>
                  </a:cubicBezTo>
                  <a:cubicBezTo>
                    <a:pt x="0" y="57"/>
                    <a:pt x="1" y="44"/>
                    <a:pt x="10" y="37"/>
                  </a:cubicBezTo>
                  <a:cubicBezTo>
                    <a:pt x="45" y="7"/>
                    <a:pt x="45" y="7"/>
                    <a:pt x="45" y="7"/>
                  </a:cubicBezTo>
                  <a:cubicBezTo>
                    <a:pt x="53" y="0"/>
                    <a:pt x="66" y="1"/>
                    <a:pt x="73" y="10"/>
                  </a:cubicBezTo>
                  <a:cubicBezTo>
                    <a:pt x="73" y="10"/>
                    <a:pt x="73" y="10"/>
                    <a:pt x="73" y="10"/>
                  </a:cubicBezTo>
                  <a:cubicBezTo>
                    <a:pt x="80" y="18"/>
                    <a:pt x="79" y="31"/>
                    <a:pt x="71" y="38"/>
                  </a:cubicBezTo>
                  <a:close/>
                </a:path>
              </a:pathLst>
            </a:custGeom>
            <a:solidFill>
              <a:schemeClr val="accent1">
                <a:lumMod val="20000"/>
                <a:lumOff val="80000"/>
              </a:schemeClr>
            </a:solidFill>
            <a:ln>
              <a:noFill/>
            </a:ln>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grpSp>
      <p:grpSp>
        <p:nvGrpSpPr>
          <p:cNvPr id="140" name="Group 98">
            <a:extLst>
              <a:ext uri="{FF2B5EF4-FFF2-40B4-BE49-F238E27FC236}">
                <a16:creationId xmlns:a16="http://schemas.microsoft.com/office/drawing/2014/main" id="{F30DC036-277D-4EF6-B0BA-2329DB5141FF}"/>
              </a:ext>
            </a:extLst>
          </p:cNvPr>
          <p:cNvGrpSpPr/>
          <p:nvPr/>
        </p:nvGrpSpPr>
        <p:grpSpPr>
          <a:xfrm>
            <a:off x="2192371" y="2467248"/>
            <a:ext cx="1781122" cy="2855682"/>
            <a:chOff x="4385312" y="4934245"/>
            <a:chExt cx="3562708" cy="5712107"/>
          </a:xfrm>
        </p:grpSpPr>
        <p:sp>
          <p:nvSpPr>
            <p:cNvPr id="141" name="Freeform 39">
              <a:extLst>
                <a:ext uri="{FF2B5EF4-FFF2-40B4-BE49-F238E27FC236}">
                  <a16:creationId xmlns:a16="http://schemas.microsoft.com/office/drawing/2014/main" id="{76677F04-F643-43FE-971C-DC324655914B}"/>
                </a:ext>
              </a:extLst>
            </p:cNvPr>
            <p:cNvSpPr>
              <a:spLocks/>
            </p:cNvSpPr>
            <p:nvPr/>
          </p:nvSpPr>
          <p:spPr bwMode="auto">
            <a:xfrm>
              <a:off x="4543574" y="10164208"/>
              <a:ext cx="92013" cy="114096"/>
            </a:xfrm>
            <a:custGeom>
              <a:avLst/>
              <a:gdLst>
                <a:gd name="T0" fmla="*/ 25 w 25"/>
                <a:gd name="T1" fmla="*/ 8 h 31"/>
                <a:gd name="T2" fmla="*/ 23 w 25"/>
                <a:gd name="T3" fmla="*/ 31 h 31"/>
                <a:gd name="T4" fmla="*/ 0 w 25"/>
                <a:gd name="T5" fmla="*/ 27 h 31"/>
                <a:gd name="T6" fmla="*/ 2 w 25"/>
                <a:gd name="T7" fmla="*/ 0 h 31"/>
                <a:gd name="T8" fmla="*/ 25 w 25"/>
                <a:gd name="T9" fmla="*/ 8 h 31"/>
              </a:gdLst>
              <a:ahLst/>
              <a:cxnLst>
                <a:cxn ang="0">
                  <a:pos x="T0" y="T1"/>
                </a:cxn>
                <a:cxn ang="0">
                  <a:pos x="T2" y="T3"/>
                </a:cxn>
                <a:cxn ang="0">
                  <a:pos x="T4" y="T5"/>
                </a:cxn>
                <a:cxn ang="0">
                  <a:pos x="T6" y="T7"/>
                </a:cxn>
                <a:cxn ang="0">
                  <a:pos x="T8" y="T9"/>
                </a:cxn>
              </a:cxnLst>
              <a:rect l="0" t="0" r="r" b="b"/>
              <a:pathLst>
                <a:path w="25" h="31">
                  <a:moveTo>
                    <a:pt x="25" y="8"/>
                  </a:moveTo>
                  <a:lnTo>
                    <a:pt x="23" y="31"/>
                  </a:lnTo>
                  <a:lnTo>
                    <a:pt x="0" y="27"/>
                  </a:lnTo>
                  <a:lnTo>
                    <a:pt x="2" y="0"/>
                  </a:lnTo>
                  <a:lnTo>
                    <a:pt x="25" y="8"/>
                  </a:lnTo>
                  <a:close/>
                </a:path>
              </a:pathLst>
            </a:custGeom>
            <a:solidFill>
              <a:srgbClr val="EA9B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42" name="Freeform 40">
              <a:extLst>
                <a:ext uri="{FF2B5EF4-FFF2-40B4-BE49-F238E27FC236}">
                  <a16:creationId xmlns:a16="http://schemas.microsoft.com/office/drawing/2014/main" id="{C9681756-D583-4FE5-825A-6E33E4267A02}"/>
                </a:ext>
              </a:extLst>
            </p:cNvPr>
            <p:cNvSpPr>
              <a:spLocks/>
            </p:cNvSpPr>
            <p:nvPr/>
          </p:nvSpPr>
          <p:spPr bwMode="auto">
            <a:xfrm>
              <a:off x="4385312" y="10223096"/>
              <a:ext cx="853872" cy="423256"/>
            </a:xfrm>
            <a:custGeom>
              <a:avLst/>
              <a:gdLst>
                <a:gd name="T0" fmla="*/ 79 w 246"/>
                <a:gd name="T1" fmla="*/ 0 h 122"/>
                <a:gd name="T2" fmla="*/ 192 w 246"/>
                <a:gd name="T3" fmla="*/ 93 h 122"/>
                <a:gd name="T4" fmla="*/ 104 w 246"/>
                <a:gd name="T5" fmla="*/ 112 h 122"/>
                <a:gd name="T6" fmla="*/ 39 w 246"/>
                <a:gd name="T7" fmla="*/ 86 h 122"/>
                <a:gd name="T8" fmla="*/ 33 w 246"/>
                <a:gd name="T9" fmla="*/ 3 h 122"/>
                <a:gd name="T10" fmla="*/ 79 w 246"/>
                <a:gd name="T11" fmla="*/ 0 h 122"/>
              </a:gdLst>
              <a:ahLst/>
              <a:cxnLst>
                <a:cxn ang="0">
                  <a:pos x="T0" y="T1"/>
                </a:cxn>
                <a:cxn ang="0">
                  <a:pos x="T2" y="T3"/>
                </a:cxn>
                <a:cxn ang="0">
                  <a:pos x="T4" y="T5"/>
                </a:cxn>
                <a:cxn ang="0">
                  <a:pos x="T6" y="T7"/>
                </a:cxn>
                <a:cxn ang="0">
                  <a:pos x="T8" y="T9"/>
                </a:cxn>
                <a:cxn ang="0">
                  <a:pos x="T10" y="T11"/>
                </a:cxn>
              </a:cxnLst>
              <a:rect l="0" t="0" r="r" b="b"/>
              <a:pathLst>
                <a:path w="246" h="122">
                  <a:moveTo>
                    <a:pt x="79" y="0"/>
                  </a:moveTo>
                  <a:cubicBezTo>
                    <a:pt x="79" y="0"/>
                    <a:pt x="139" y="65"/>
                    <a:pt x="192" y="93"/>
                  </a:cubicBezTo>
                  <a:cubicBezTo>
                    <a:pt x="246" y="122"/>
                    <a:pt x="129" y="120"/>
                    <a:pt x="104" y="112"/>
                  </a:cubicBezTo>
                  <a:cubicBezTo>
                    <a:pt x="79" y="104"/>
                    <a:pt x="78" y="90"/>
                    <a:pt x="39" y="86"/>
                  </a:cubicBezTo>
                  <a:cubicBezTo>
                    <a:pt x="0" y="83"/>
                    <a:pt x="17" y="22"/>
                    <a:pt x="33" y="3"/>
                  </a:cubicBezTo>
                  <a:cubicBezTo>
                    <a:pt x="33" y="3"/>
                    <a:pt x="63" y="31"/>
                    <a:pt x="79" y="0"/>
                  </a:cubicBezTo>
                  <a:close/>
                </a:path>
              </a:pathLst>
            </a:custGeom>
            <a:solidFill>
              <a:srgbClr val="0727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43" name="Freeform 41">
              <a:extLst>
                <a:ext uri="{FF2B5EF4-FFF2-40B4-BE49-F238E27FC236}">
                  <a16:creationId xmlns:a16="http://schemas.microsoft.com/office/drawing/2014/main" id="{40CBFD9C-DEB3-470D-BC6B-EA90088655B0}"/>
                </a:ext>
              </a:extLst>
            </p:cNvPr>
            <p:cNvSpPr>
              <a:spLocks/>
            </p:cNvSpPr>
            <p:nvPr/>
          </p:nvSpPr>
          <p:spPr bwMode="auto">
            <a:xfrm>
              <a:off x="4469964" y="7183018"/>
              <a:ext cx="890676" cy="3032717"/>
            </a:xfrm>
            <a:custGeom>
              <a:avLst/>
              <a:gdLst>
                <a:gd name="T0" fmla="*/ 0 w 256"/>
                <a:gd name="T1" fmla="*/ 871 h 871"/>
                <a:gd name="T2" fmla="*/ 68 w 256"/>
                <a:gd name="T3" fmla="*/ 871 h 871"/>
                <a:gd name="T4" fmla="*/ 86 w 256"/>
                <a:gd name="T5" fmla="*/ 736 h 871"/>
                <a:gd name="T6" fmla="*/ 134 w 256"/>
                <a:gd name="T7" fmla="*/ 571 h 871"/>
                <a:gd name="T8" fmla="*/ 177 w 256"/>
                <a:gd name="T9" fmla="*/ 468 h 871"/>
                <a:gd name="T10" fmla="*/ 205 w 256"/>
                <a:gd name="T11" fmla="*/ 353 h 871"/>
                <a:gd name="T12" fmla="*/ 233 w 256"/>
                <a:gd name="T13" fmla="*/ 163 h 871"/>
                <a:gd name="T14" fmla="*/ 247 w 256"/>
                <a:gd name="T15" fmla="*/ 89 h 871"/>
                <a:gd name="T16" fmla="*/ 256 w 256"/>
                <a:gd name="T17" fmla="*/ 41 h 871"/>
                <a:gd name="T18" fmla="*/ 82 w 256"/>
                <a:gd name="T19" fmla="*/ 16 h 871"/>
                <a:gd name="T20" fmla="*/ 73 w 256"/>
                <a:gd name="T21" fmla="*/ 83 h 871"/>
                <a:gd name="T22" fmla="*/ 74 w 256"/>
                <a:gd name="T23" fmla="*/ 167 h 871"/>
                <a:gd name="T24" fmla="*/ 74 w 256"/>
                <a:gd name="T25" fmla="*/ 167 h 871"/>
                <a:gd name="T26" fmla="*/ 74 w 256"/>
                <a:gd name="T27" fmla="*/ 208 h 871"/>
                <a:gd name="T28" fmla="*/ 75 w 256"/>
                <a:gd name="T29" fmla="*/ 481 h 871"/>
                <a:gd name="T30" fmla="*/ 14 w 256"/>
                <a:gd name="T31" fmla="*/ 614 h 871"/>
                <a:gd name="T32" fmla="*/ 11 w 256"/>
                <a:gd name="T33" fmla="*/ 709 h 871"/>
                <a:gd name="T34" fmla="*/ 0 w 256"/>
                <a:gd name="T35" fmla="*/ 871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6" h="871">
                  <a:moveTo>
                    <a:pt x="0" y="871"/>
                  </a:moveTo>
                  <a:cubicBezTo>
                    <a:pt x="68" y="871"/>
                    <a:pt x="68" y="871"/>
                    <a:pt x="68" y="871"/>
                  </a:cubicBezTo>
                  <a:cubicBezTo>
                    <a:pt x="68" y="871"/>
                    <a:pt x="79" y="776"/>
                    <a:pt x="86" y="736"/>
                  </a:cubicBezTo>
                  <a:cubicBezTo>
                    <a:pt x="92" y="696"/>
                    <a:pt x="126" y="598"/>
                    <a:pt x="134" y="571"/>
                  </a:cubicBezTo>
                  <a:cubicBezTo>
                    <a:pt x="143" y="544"/>
                    <a:pt x="164" y="502"/>
                    <a:pt x="177" y="468"/>
                  </a:cubicBezTo>
                  <a:cubicBezTo>
                    <a:pt x="189" y="435"/>
                    <a:pt x="202" y="375"/>
                    <a:pt x="205" y="353"/>
                  </a:cubicBezTo>
                  <a:cubicBezTo>
                    <a:pt x="207" y="330"/>
                    <a:pt x="226" y="201"/>
                    <a:pt x="233" y="163"/>
                  </a:cubicBezTo>
                  <a:cubicBezTo>
                    <a:pt x="236" y="144"/>
                    <a:pt x="242" y="114"/>
                    <a:pt x="247" y="89"/>
                  </a:cubicBezTo>
                  <a:cubicBezTo>
                    <a:pt x="252" y="62"/>
                    <a:pt x="256" y="41"/>
                    <a:pt x="256" y="41"/>
                  </a:cubicBezTo>
                  <a:cubicBezTo>
                    <a:pt x="256" y="41"/>
                    <a:pt x="99" y="0"/>
                    <a:pt x="82" y="16"/>
                  </a:cubicBezTo>
                  <a:cubicBezTo>
                    <a:pt x="76" y="23"/>
                    <a:pt x="74" y="51"/>
                    <a:pt x="73" y="83"/>
                  </a:cubicBezTo>
                  <a:cubicBezTo>
                    <a:pt x="73" y="111"/>
                    <a:pt x="73" y="142"/>
                    <a:pt x="74" y="167"/>
                  </a:cubicBezTo>
                  <a:cubicBezTo>
                    <a:pt x="74" y="167"/>
                    <a:pt x="74" y="167"/>
                    <a:pt x="74" y="167"/>
                  </a:cubicBezTo>
                  <a:cubicBezTo>
                    <a:pt x="74" y="186"/>
                    <a:pt x="75" y="201"/>
                    <a:pt x="74" y="208"/>
                  </a:cubicBezTo>
                  <a:cubicBezTo>
                    <a:pt x="72" y="237"/>
                    <a:pt x="78" y="442"/>
                    <a:pt x="75" y="481"/>
                  </a:cubicBezTo>
                  <a:cubicBezTo>
                    <a:pt x="72" y="520"/>
                    <a:pt x="22" y="587"/>
                    <a:pt x="14" y="614"/>
                  </a:cubicBezTo>
                  <a:cubicBezTo>
                    <a:pt x="5" y="641"/>
                    <a:pt x="11" y="679"/>
                    <a:pt x="11" y="709"/>
                  </a:cubicBezTo>
                  <a:cubicBezTo>
                    <a:pt x="11" y="739"/>
                    <a:pt x="0" y="871"/>
                    <a:pt x="0" y="871"/>
                  </a:cubicBezTo>
                  <a:close/>
                </a:path>
              </a:pathLst>
            </a:custGeom>
            <a:solidFill>
              <a:srgbClr val="7676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44" name="Freeform 42">
              <a:extLst>
                <a:ext uri="{FF2B5EF4-FFF2-40B4-BE49-F238E27FC236}">
                  <a16:creationId xmlns:a16="http://schemas.microsoft.com/office/drawing/2014/main" id="{F66903B8-9A5F-4200-9A14-77CFD58EBAE4}"/>
                </a:ext>
              </a:extLst>
            </p:cNvPr>
            <p:cNvSpPr>
              <a:spLocks/>
            </p:cNvSpPr>
            <p:nvPr/>
          </p:nvSpPr>
          <p:spPr bwMode="auto">
            <a:xfrm>
              <a:off x="4723916" y="7183018"/>
              <a:ext cx="636724" cy="434297"/>
            </a:xfrm>
            <a:custGeom>
              <a:avLst/>
              <a:gdLst>
                <a:gd name="T0" fmla="*/ 0 w 183"/>
                <a:gd name="T1" fmla="*/ 83 h 125"/>
                <a:gd name="T2" fmla="*/ 174 w 183"/>
                <a:gd name="T3" fmla="*/ 89 h 125"/>
                <a:gd name="T4" fmla="*/ 183 w 183"/>
                <a:gd name="T5" fmla="*/ 41 h 125"/>
                <a:gd name="T6" fmla="*/ 9 w 183"/>
                <a:gd name="T7" fmla="*/ 16 h 125"/>
                <a:gd name="T8" fmla="*/ 0 w 183"/>
                <a:gd name="T9" fmla="*/ 83 h 125"/>
              </a:gdLst>
              <a:ahLst/>
              <a:cxnLst>
                <a:cxn ang="0">
                  <a:pos x="T0" y="T1"/>
                </a:cxn>
                <a:cxn ang="0">
                  <a:pos x="T2" y="T3"/>
                </a:cxn>
                <a:cxn ang="0">
                  <a:pos x="T4" y="T5"/>
                </a:cxn>
                <a:cxn ang="0">
                  <a:pos x="T6" y="T7"/>
                </a:cxn>
                <a:cxn ang="0">
                  <a:pos x="T8" y="T9"/>
                </a:cxn>
              </a:cxnLst>
              <a:rect l="0" t="0" r="r" b="b"/>
              <a:pathLst>
                <a:path w="183" h="125">
                  <a:moveTo>
                    <a:pt x="0" y="83"/>
                  </a:moveTo>
                  <a:cubicBezTo>
                    <a:pt x="103" y="125"/>
                    <a:pt x="174" y="89"/>
                    <a:pt x="174" y="89"/>
                  </a:cubicBezTo>
                  <a:cubicBezTo>
                    <a:pt x="179" y="62"/>
                    <a:pt x="183" y="41"/>
                    <a:pt x="183" y="41"/>
                  </a:cubicBezTo>
                  <a:cubicBezTo>
                    <a:pt x="183" y="41"/>
                    <a:pt x="26" y="0"/>
                    <a:pt x="9" y="16"/>
                  </a:cubicBezTo>
                  <a:cubicBezTo>
                    <a:pt x="3" y="23"/>
                    <a:pt x="1" y="51"/>
                    <a:pt x="0" y="83"/>
                  </a:cubicBezTo>
                  <a:close/>
                </a:path>
              </a:pathLst>
            </a:custGeom>
            <a:solidFill>
              <a:srgbClr val="696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45" name="Freeform 43">
              <a:extLst>
                <a:ext uri="{FF2B5EF4-FFF2-40B4-BE49-F238E27FC236}">
                  <a16:creationId xmlns:a16="http://schemas.microsoft.com/office/drawing/2014/main" id="{9AB0E25F-437C-442B-9FD2-F58C0FFBE274}"/>
                </a:ext>
              </a:extLst>
            </p:cNvPr>
            <p:cNvSpPr>
              <a:spLocks/>
            </p:cNvSpPr>
            <p:nvPr/>
          </p:nvSpPr>
          <p:spPr bwMode="auto">
            <a:xfrm>
              <a:off x="7351780" y="5508400"/>
              <a:ext cx="301799" cy="323882"/>
            </a:xfrm>
            <a:custGeom>
              <a:avLst/>
              <a:gdLst>
                <a:gd name="T0" fmla="*/ 0 w 87"/>
                <a:gd name="T1" fmla="*/ 93 h 93"/>
                <a:gd name="T2" fmla="*/ 63 w 87"/>
                <a:gd name="T3" fmla="*/ 88 h 93"/>
                <a:gd name="T4" fmla="*/ 82 w 87"/>
                <a:gd name="T5" fmla="*/ 87 h 93"/>
                <a:gd name="T6" fmla="*/ 84 w 87"/>
                <a:gd name="T7" fmla="*/ 56 h 93"/>
                <a:gd name="T8" fmla="*/ 87 w 87"/>
                <a:gd name="T9" fmla="*/ 0 h 93"/>
                <a:gd name="T10" fmla="*/ 4 w 87"/>
                <a:gd name="T11" fmla="*/ 17 h 93"/>
                <a:gd name="T12" fmla="*/ 4 w 87"/>
                <a:gd name="T13" fmla="*/ 28 h 93"/>
                <a:gd name="T14" fmla="*/ 2 w 87"/>
                <a:gd name="T15" fmla="*/ 66 h 93"/>
                <a:gd name="T16" fmla="*/ 0 w 87"/>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93">
                  <a:moveTo>
                    <a:pt x="0" y="93"/>
                  </a:moveTo>
                  <a:cubicBezTo>
                    <a:pt x="63" y="88"/>
                    <a:pt x="63" y="88"/>
                    <a:pt x="63" y="88"/>
                  </a:cubicBezTo>
                  <a:cubicBezTo>
                    <a:pt x="82" y="87"/>
                    <a:pt x="82" y="87"/>
                    <a:pt x="82" y="87"/>
                  </a:cubicBezTo>
                  <a:cubicBezTo>
                    <a:pt x="84" y="56"/>
                    <a:pt x="84" y="56"/>
                    <a:pt x="84" y="56"/>
                  </a:cubicBezTo>
                  <a:cubicBezTo>
                    <a:pt x="87" y="0"/>
                    <a:pt x="87" y="0"/>
                    <a:pt x="87" y="0"/>
                  </a:cubicBezTo>
                  <a:cubicBezTo>
                    <a:pt x="63" y="1"/>
                    <a:pt x="34" y="8"/>
                    <a:pt x="4" y="17"/>
                  </a:cubicBezTo>
                  <a:cubicBezTo>
                    <a:pt x="4" y="28"/>
                    <a:pt x="4" y="28"/>
                    <a:pt x="4" y="28"/>
                  </a:cubicBezTo>
                  <a:cubicBezTo>
                    <a:pt x="2" y="66"/>
                    <a:pt x="2" y="66"/>
                    <a:pt x="2" y="66"/>
                  </a:cubicBezTo>
                  <a:lnTo>
                    <a:pt x="0" y="93"/>
                  </a:lnTo>
                  <a:close/>
                </a:path>
              </a:pathLst>
            </a:custGeom>
            <a:solidFill>
              <a:srgbClr val="F9C7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46" name="Freeform 44">
              <a:extLst>
                <a:ext uri="{FF2B5EF4-FFF2-40B4-BE49-F238E27FC236}">
                  <a16:creationId xmlns:a16="http://schemas.microsoft.com/office/drawing/2014/main" id="{AB0535D5-5D08-4F61-9E34-1874B8B240AB}"/>
                </a:ext>
              </a:extLst>
            </p:cNvPr>
            <p:cNvSpPr>
              <a:spLocks/>
            </p:cNvSpPr>
            <p:nvPr/>
          </p:nvSpPr>
          <p:spPr bwMode="auto">
            <a:xfrm>
              <a:off x="7366502" y="5508400"/>
              <a:ext cx="287078" cy="217150"/>
            </a:xfrm>
            <a:custGeom>
              <a:avLst/>
              <a:gdLst>
                <a:gd name="T0" fmla="*/ 0 w 83"/>
                <a:gd name="T1" fmla="*/ 28 h 62"/>
                <a:gd name="T2" fmla="*/ 0 w 83"/>
                <a:gd name="T3" fmla="*/ 29 h 62"/>
                <a:gd name="T4" fmla="*/ 24 w 83"/>
                <a:gd name="T5" fmla="*/ 62 h 62"/>
                <a:gd name="T6" fmla="*/ 80 w 83"/>
                <a:gd name="T7" fmla="*/ 56 h 62"/>
                <a:gd name="T8" fmla="*/ 83 w 83"/>
                <a:gd name="T9" fmla="*/ 0 h 62"/>
                <a:gd name="T10" fmla="*/ 0 w 83"/>
                <a:gd name="T11" fmla="*/ 17 h 62"/>
                <a:gd name="T12" fmla="*/ 0 w 83"/>
                <a:gd name="T13" fmla="*/ 28 h 62"/>
              </a:gdLst>
              <a:ahLst/>
              <a:cxnLst>
                <a:cxn ang="0">
                  <a:pos x="T0" y="T1"/>
                </a:cxn>
                <a:cxn ang="0">
                  <a:pos x="T2" y="T3"/>
                </a:cxn>
                <a:cxn ang="0">
                  <a:pos x="T4" y="T5"/>
                </a:cxn>
                <a:cxn ang="0">
                  <a:pos x="T6" y="T7"/>
                </a:cxn>
                <a:cxn ang="0">
                  <a:pos x="T8" y="T9"/>
                </a:cxn>
                <a:cxn ang="0">
                  <a:pos x="T10" y="T11"/>
                </a:cxn>
                <a:cxn ang="0">
                  <a:pos x="T12" y="T13"/>
                </a:cxn>
              </a:cxnLst>
              <a:rect l="0" t="0" r="r" b="b"/>
              <a:pathLst>
                <a:path w="83" h="62">
                  <a:moveTo>
                    <a:pt x="0" y="28"/>
                  </a:moveTo>
                  <a:cubicBezTo>
                    <a:pt x="0" y="28"/>
                    <a:pt x="0" y="28"/>
                    <a:pt x="0" y="29"/>
                  </a:cubicBezTo>
                  <a:cubicBezTo>
                    <a:pt x="8" y="43"/>
                    <a:pt x="16" y="54"/>
                    <a:pt x="24" y="62"/>
                  </a:cubicBezTo>
                  <a:cubicBezTo>
                    <a:pt x="80" y="56"/>
                    <a:pt x="80" y="56"/>
                    <a:pt x="80" y="56"/>
                  </a:cubicBezTo>
                  <a:cubicBezTo>
                    <a:pt x="83" y="0"/>
                    <a:pt x="83" y="0"/>
                    <a:pt x="83" y="0"/>
                  </a:cubicBezTo>
                  <a:cubicBezTo>
                    <a:pt x="59" y="1"/>
                    <a:pt x="30" y="8"/>
                    <a:pt x="0" y="17"/>
                  </a:cubicBezTo>
                  <a:lnTo>
                    <a:pt x="0" y="28"/>
                  </a:lnTo>
                  <a:close/>
                </a:path>
              </a:pathLst>
            </a:custGeom>
            <a:solidFill>
              <a:srgbClr val="F4BC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47" name="Freeform 45">
              <a:extLst>
                <a:ext uri="{FF2B5EF4-FFF2-40B4-BE49-F238E27FC236}">
                  <a16:creationId xmlns:a16="http://schemas.microsoft.com/office/drawing/2014/main" id="{5157B7BA-9C0F-4A97-981A-A9B222991CB2}"/>
                </a:ext>
              </a:extLst>
            </p:cNvPr>
            <p:cNvSpPr>
              <a:spLocks/>
            </p:cNvSpPr>
            <p:nvPr/>
          </p:nvSpPr>
          <p:spPr bwMode="auto">
            <a:xfrm>
              <a:off x="5953197" y="6572058"/>
              <a:ext cx="426936" cy="294438"/>
            </a:xfrm>
            <a:custGeom>
              <a:avLst/>
              <a:gdLst>
                <a:gd name="T0" fmla="*/ 13 w 123"/>
                <a:gd name="T1" fmla="*/ 46 h 85"/>
                <a:gd name="T2" fmla="*/ 19 w 123"/>
                <a:gd name="T3" fmla="*/ 45 h 85"/>
                <a:gd name="T4" fmla="*/ 41 w 123"/>
                <a:gd name="T5" fmla="*/ 17 h 85"/>
                <a:gd name="T6" fmla="*/ 106 w 123"/>
                <a:gd name="T7" fmla="*/ 0 h 85"/>
                <a:gd name="T8" fmla="*/ 123 w 123"/>
                <a:gd name="T9" fmla="*/ 31 h 85"/>
                <a:gd name="T10" fmla="*/ 87 w 123"/>
                <a:gd name="T11" fmla="*/ 65 h 85"/>
                <a:gd name="T12" fmla="*/ 61 w 123"/>
                <a:gd name="T13" fmla="*/ 73 h 85"/>
                <a:gd name="T14" fmla="*/ 39 w 123"/>
                <a:gd name="T15" fmla="*/ 82 h 85"/>
                <a:gd name="T16" fmla="*/ 43 w 123"/>
                <a:gd name="T17" fmla="*/ 72 h 85"/>
                <a:gd name="T18" fmla="*/ 41 w 123"/>
                <a:gd name="T19" fmla="*/ 72 h 85"/>
                <a:gd name="T20" fmla="*/ 26 w 123"/>
                <a:gd name="T21" fmla="*/ 76 h 85"/>
                <a:gd name="T22" fmla="*/ 30 w 123"/>
                <a:gd name="T23" fmla="*/ 66 h 85"/>
                <a:gd name="T24" fmla="*/ 28 w 123"/>
                <a:gd name="T25" fmla="*/ 65 h 85"/>
                <a:gd name="T26" fmla="*/ 9 w 123"/>
                <a:gd name="T27" fmla="*/ 70 h 85"/>
                <a:gd name="T28" fmla="*/ 18 w 123"/>
                <a:gd name="T29" fmla="*/ 58 h 85"/>
                <a:gd name="T30" fmla="*/ 23 w 123"/>
                <a:gd name="T31" fmla="*/ 58 h 85"/>
                <a:gd name="T32" fmla="*/ 21 w 123"/>
                <a:gd name="T33" fmla="*/ 54 h 85"/>
                <a:gd name="T34" fmla="*/ 6 w 123"/>
                <a:gd name="T35" fmla="*/ 59 h 85"/>
                <a:gd name="T36" fmla="*/ 13 w 123"/>
                <a:gd name="T37" fmla="*/ 4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3" h="85">
                  <a:moveTo>
                    <a:pt x="13" y="46"/>
                  </a:moveTo>
                  <a:cubicBezTo>
                    <a:pt x="19" y="45"/>
                    <a:pt x="19" y="45"/>
                    <a:pt x="19" y="45"/>
                  </a:cubicBezTo>
                  <a:cubicBezTo>
                    <a:pt x="20" y="36"/>
                    <a:pt x="26" y="26"/>
                    <a:pt x="41" y="17"/>
                  </a:cubicBezTo>
                  <a:cubicBezTo>
                    <a:pt x="52" y="10"/>
                    <a:pt x="106" y="0"/>
                    <a:pt x="106" y="0"/>
                  </a:cubicBezTo>
                  <a:cubicBezTo>
                    <a:pt x="123" y="31"/>
                    <a:pt x="123" y="31"/>
                    <a:pt x="123" y="31"/>
                  </a:cubicBezTo>
                  <a:cubicBezTo>
                    <a:pt x="123" y="31"/>
                    <a:pt x="96" y="60"/>
                    <a:pt x="87" y="65"/>
                  </a:cubicBezTo>
                  <a:cubicBezTo>
                    <a:pt x="78" y="70"/>
                    <a:pt x="69" y="73"/>
                    <a:pt x="61" y="73"/>
                  </a:cubicBezTo>
                  <a:cubicBezTo>
                    <a:pt x="55" y="78"/>
                    <a:pt x="44" y="85"/>
                    <a:pt x="39" y="82"/>
                  </a:cubicBezTo>
                  <a:cubicBezTo>
                    <a:pt x="36" y="79"/>
                    <a:pt x="40" y="75"/>
                    <a:pt x="43" y="72"/>
                  </a:cubicBezTo>
                  <a:cubicBezTo>
                    <a:pt x="43" y="72"/>
                    <a:pt x="42" y="72"/>
                    <a:pt x="41" y="72"/>
                  </a:cubicBezTo>
                  <a:cubicBezTo>
                    <a:pt x="36" y="75"/>
                    <a:pt x="29" y="78"/>
                    <a:pt x="26" y="76"/>
                  </a:cubicBezTo>
                  <a:cubicBezTo>
                    <a:pt x="22" y="73"/>
                    <a:pt x="26" y="69"/>
                    <a:pt x="30" y="66"/>
                  </a:cubicBezTo>
                  <a:cubicBezTo>
                    <a:pt x="29" y="66"/>
                    <a:pt x="29" y="65"/>
                    <a:pt x="28" y="65"/>
                  </a:cubicBezTo>
                  <a:cubicBezTo>
                    <a:pt x="21" y="69"/>
                    <a:pt x="13" y="73"/>
                    <a:pt x="9" y="70"/>
                  </a:cubicBezTo>
                  <a:cubicBezTo>
                    <a:pt x="3" y="66"/>
                    <a:pt x="18" y="58"/>
                    <a:pt x="18" y="58"/>
                  </a:cubicBezTo>
                  <a:cubicBezTo>
                    <a:pt x="23" y="58"/>
                    <a:pt x="23" y="58"/>
                    <a:pt x="23" y="58"/>
                  </a:cubicBezTo>
                  <a:cubicBezTo>
                    <a:pt x="22" y="57"/>
                    <a:pt x="21" y="55"/>
                    <a:pt x="21" y="54"/>
                  </a:cubicBezTo>
                  <a:cubicBezTo>
                    <a:pt x="15" y="58"/>
                    <a:pt x="9" y="61"/>
                    <a:pt x="6" y="59"/>
                  </a:cubicBezTo>
                  <a:cubicBezTo>
                    <a:pt x="0" y="55"/>
                    <a:pt x="13" y="46"/>
                    <a:pt x="13" y="46"/>
                  </a:cubicBezTo>
                  <a:close/>
                </a:path>
              </a:pathLst>
            </a:custGeom>
            <a:solidFill>
              <a:srgbClr val="FCCD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48" name="Freeform 46">
              <a:extLst>
                <a:ext uri="{FF2B5EF4-FFF2-40B4-BE49-F238E27FC236}">
                  <a16:creationId xmlns:a16="http://schemas.microsoft.com/office/drawing/2014/main" id="{7C3E35C5-E271-493A-B31F-D0F3BE99C4C6}"/>
                </a:ext>
              </a:extLst>
            </p:cNvPr>
            <p:cNvSpPr>
              <a:spLocks/>
            </p:cNvSpPr>
            <p:nvPr/>
          </p:nvSpPr>
          <p:spPr bwMode="auto">
            <a:xfrm>
              <a:off x="5964240" y="6612545"/>
              <a:ext cx="390131" cy="276037"/>
            </a:xfrm>
            <a:custGeom>
              <a:avLst/>
              <a:gdLst>
                <a:gd name="T0" fmla="*/ 6 w 112"/>
                <a:gd name="T1" fmla="*/ 0 h 79"/>
                <a:gd name="T2" fmla="*/ 63 w 112"/>
                <a:gd name="T3" fmla="*/ 10 h 79"/>
                <a:gd name="T4" fmla="*/ 110 w 112"/>
                <a:gd name="T5" fmla="*/ 49 h 79"/>
                <a:gd name="T6" fmla="*/ 104 w 112"/>
                <a:gd name="T7" fmla="*/ 56 h 79"/>
                <a:gd name="T8" fmla="*/ 94 w 112"/>
                <a:gd name="T9" fmla="*/ 51 h 79"/>
                <a:gd name="T10" fmla="*/ 93 w 112"/>
                <a:gd name="T11" fmla="*/ 64 h 79"/>
                <a:gd name="T12" fmla="*/ 78 w 112"/>
                <a:gd name="T13" fmla="*/ 57 h 79"/>
                <a:gd name="T14" fmla="*/ 82 w 112"/>
                <a:gd name="T15" fmla="*/ 70 h 79"/>
                <a:gd name="T16" fmla="*/ 66 w 112"/>
                <a:gd name="T17" fmla="*/ 66 h 79"/>
                <a:gd name="T18" fmla="*/ 66 w 112"/>
                <a:gd name="T19" fmla="*/ 77 h 79"/>
                <a:gd name="T20" fmla="*/ 27 w 112"/>
                <a:gd name="T21" fmla="*/ 55 h 79"/>
                <a:gd name="T22" fmla="*/ 0 w 112"/>
                <a:gd name="T23" fmla="*/ 31 h 79"/>
                <a:gd name="T24" fmla="*/ 6 w 112"/>
                <a:gd name="T2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79">
                  <a:moveTo>
                    <a:pt x="6" y="0"/>
                  </a:moveTo>
                  <a:cubicBezTo>
                    <a:pt x="6" y="0"/>
                    <a:pt x="37" y="3"/>
                    <a:pt x="63" y="10"/>
                  </a:cubicBezTo>
                  <a:cubicBezTo>
                    <a:pt x="88" y="17"/>
                    <a:pt x="108" y="45"/>
                    <a:pt x="110" y="49"/>
                  </a:cubicBezTo>
                  <a:cubicBezTo>
                    <a:pt x="112" y="53"/>
                    <a:pt x="112" y="59"/>
                    <a:pt x="104" y="56"/>
                  </a:cubicBezTo>
                  <a:cubicBezTo>
                    <a:pt x="97" y="52"/>
                    <a:pt x="94" y="51"/>
                    <a:pt x="94" y="51"/>
                  </a:cubicBezTo>
                  <a:cubicBezTo>
                    <a:pt x="94" y="51"/>
                    <a:pt x="104" y="64"/>
                    <a:pt x="93" y="64"/>
                  </a:cubicBezTo>
                  <a:cubicBezTo>
                    <a:pt x="82" y="64"/>
                    <a:pt x="80" y="57"/>
                    <a:pt x="78" y="57"/>
                  </a:cubicBezTo>
                  <a:cubicBezTo>
                    <a:pt x="76" y="57"/>
                    <a:pt x="90" y="66"/>
                    <a:pt x="82" y="70"/>
                  </a:cubicBezTo>
                  <a:cubicBezTo>
                    <a:pt x="75" y="75"/>
                    <a:pt x="67" y="66"/>
                    <a:pt x="66" y="66"/>
                  </a:cubicBezTo>
                  <a:cubicBezTo>
                    <a:pt x="64" y="66"/>
                    <a:pt x="76" y="74"/>
                    <a:pt x="66" y="77"/>
                  </a:cubicBezTo>
                  <a:cubicBezTo>
                    <a:pt x="56" y="79"/>
                    <a:pt x="42" y="64"/>
                    <a:pt x="27" y="55"/>
                  </a:cubicBezTo>
                  <a:cubicBezTo>
                    <a:pt x="11" y="47"/>
                    <a:pt x="0" y="31"/>
                    <a:pt x="0" y="31"/>
                  </a:cubicBezTo>
                  <a:lnTo>
                    <a:pt x="6" y="0"/>
                  </a:lnTo>
                  <a:close/>
                </a:path>
              </a:pathLst>
            </a:custGeom>
            <a:solidFill>
              <a:srgbClr val="FFAB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49" name="Freeform 47">
              <a:extLst>
                <a:ext uri="{FF2B5EF4-FFF2-40B4-BE49-F238E27FC236}">
                  <a16:creationId xmlns:a16="http://schemas.microsoft.com/office/drawing/2014/main" id="{1E28C140-EC1B-4A94-9E33-8365026F24B6}"/>
                </a:ext>
              </a:extLst>
            </p:cNvPr>
            <p:cNvSpPr>
              <a:spLocks/>
            </p:cNvSpPr>
            <p:nvPr/>
          </p:nvSpPr>
          <p:spPr bwMode="auto">
            <a:xfrm>
              <a:off x="6137221" y="6597823"/>
              <a:ext cx="206107" cy="128818"/>
            </a:xfrm>
            <a:custGeom>
              <a:avLst/>
              <a:gdLst>
                <a:gd name="T0" fmla="*/ 47 w 59"/>
                <a:gd name="T1" fmla="*/ 0 h 37"/>
                <a:gd name="T2" fmla="*/ 22 w 59"/>
                <a:gd name="T3" fmla="*/ 12 h 37"/>
                <a:gd name="T4" fmla="*/ 6 w 59"/>
                <a:gd name="T5" fmla="*/ 33 h 37"/>
                <a:gd name="T6" fmla="*/ 29 w 59"/>
                <a:gd name="T7" fmla="*/ 28 h 37"/>
                <a:gd name="T8" fmla="*/ 43 w 59"/>
                <a:gd name="T9" fmla="*/ 33 h 37"/>
                <a:gd name="T10" fmla="*/ 59 w 59"/>
                <a:gd name="T11" fmla="*/ 19 h 37"/>
                <a:gd name="T12" fmla="*/ 47 w 59"/>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59" h="37">
                  <a:moveTo>
                    <a:pt x="47" y="0"/>
                  </a:moveTo>
                  <a:cubicBezTo>
                    <a:pt x="47" y="0"/>
                    <a:pt x="33" y="4"/>
                    <a:pt x="22" y="12"/>
                  </a:cubicBezTo>
                  <a:cubicBezTo>
                    <a:pt x="10" y="20"/>
                    <a:pt x="0" y="29"/>
                    <a:pt x="6" y="33"/>
                  </a:cubicBezTo>
                  <a:cubicBezTo>
                    <a:pt x="13" y="36"/>
                    <a:pt x="24" y="26"/>
                    <a:pt x="29" y="28"/>
                  </a:cubicBezTo>
                  <a:cubicBezTo>
                    <a:pt x="34" y="29"/>
                    <a:pt x="34" y="37"/>
                    <a:pt x="43" y="33"/>
                  </a:cubicBezTo>
                  <a:cubicBezTo>
                    <a:pt x="51" y="28"/>
                    <a:pt x="59" y="19"/>
                    <a:pt x="59" y="19"/>
                  </a:cubicBezTo>
                  <a:lnTo>
                    <a:pt x="47" y="0"/>
                  </a:lnTo>
                  <a:close/>
                </a:path>
              </a:pathLst>
            </a:custGeom>
            <a:solidFill>
              <a:srgbClr val="FCCD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0" name="Freeform 48">
              <a:extLst>
                <a:ext uri="{FF2B5EF4-FFF2-40B4-BE49-F238E27FC236}">
                  <a16:creationId xmlns:a16="http://schemas.microsoft.com/office/drawing/2014/main" id="{AF020DA3-47D0-4DA2-8A65-C5821D9EDFDE}"/>
                </a:ext>
              </a:extLst>
            </p:cNvPr>
            <p:cNvSpPr>
              <a:spLocks/>
            </p:cNvSpPr>
            <p:nvPr/>
          </p:nvSpPr>
          <p:spPr bwMode="auto">
            <a:xfrm>
              <a:off x="6111459" y="6395395"/>
              <a:ext cx="136179" cy="147219"/>
            </a:xfrm>
            <a:custGeom>
              <a:avLst/>
              <a:gdLst>
                <a:gd name="T0" fmla="*/ 32 w 37"/>
                <a:gd name="T1" fmla="*/ 6 h 40"/>
                <a:gd name="T2" fmla="*/ 0 w 37"/>
                <a:gd name="T3" fmla="*/ 0 h 40"/>
                <a:gd name="T4" fmla="*/ 2 w 37"/>
                <a:gd name="T5" fmla="*/ 31 h 40"/>
                <a:gd name="T6" fmla="*/ 37 w 37"/>
                <a:gd name="T7" fmla="*/ 40 h 40"/>
                <a:gd name="T8" fmla="*/ 32 w 37"/>
                <a:gd name="T9" fmla="*/ 6 h 40"/>
              </a:gdLst>
              <a:ahLst/>
              <a:cxnLst>
                <a:cxn ang="0">
                  <a:pos x="T0" y="T1"/>
                </a:cxn>
                <a:cxn ang="0">
                  <a:pos x="T2" y="T3"/>
                </a:cxn>
                <a:cxn ang="0">
                  <a:pos x="T4" y="T5"/>
                </a:cxn>
                <a:cxn ang="0">
                  <a:pos x="T6" y="T7"/>
                </a:cxn>
                <a:cxn ang="0">
                  <a:pos x="T8" y="T9"/>
                </a:cxn>
              </a:cxnLst>
              <a:rect l="0" t="0" r="r" b="b"/>
              <a:pathLst>
                <a:path w="37" h="40">
                  <a:moveTo>
                    <a:pt x="32" y="6"/>
                  </a:moveTo>
                  <a:lnTo>
                    <a:pt x="0" y="0"/>
                  </a:lnTo>
                  <a:lnTo>
                    <a:pt x="2" y="31"/>
                  </a:lnTo>
                  <a:lnTo>
                    <a:pt x="37" y="40"/>
                  </a:lnTo>
                  <a:lnTo>
                    <a:pt x="32" y="6"/>
                  </a:lnTo>
                  <a:close/>
                </a:path>
              </a:pathLst>
            </a:custGeom>
            <a:solidFill>
              <a:srgbClr val="FFAB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1" name="Freeform 49">
              <a:extLst>
                <a:ext uri="{FF2B5EF4-FFF2-40B4-BE49-F238E27FC236}">
                  <a16:creationId xmlns:a16="http://schemas.microsoft.com/office/drawing/2014/main" id="{C8C64B31-835A-4D66-975B-75098AE76B2C}"/>
                </a:ext>
              </a:extLst>
            </p:cNvPr>
            <p:cNvSpPr>
              <a:spLocks/>
            </p:cNvSpPr>
            <p:nvPr/>
          </p:nvSpPr>
          <p:spPr bwMode="auto">
            <a:xfrm>
              <a:off x="6111459" y="6395395"/>
              <a:ext cx="136179" cy="147219"/>
            </a:xfrm>
            <a:custGeom>
              <a:avLst/>
              <a:gdLst>
                <a:gd name="T0" fmla="*/ 32 w 37"/>
                <a:gd name="T1" fmla="*/ 6 h 40"/>
                <a:gd name="T2" fmla="*/ 0 w 37"/>
                <a:gd name="T3" fmla="*/ 0 h 40"/>
                <a:gd name="T4" fmla="*/ 2 w 37"/>
                <a:gd name="T5" fmla="*/ 31 h 40"/>
                <a:gd name="T6" fmla="*/ 37 w 37"/>
                <a:gd name="T7" fmla="*/ 40 h 40"/>
              </a:gdLst>
              <a:ahLst/>
              <a:cxnLst>
                <a:cxn ang="0">
                  <a:pos x="T0" y="T1"/>
                </a:cxn>
                <a:cxn ang="0">
                  <a:pos x="T2" y="T3"/>
                </a:cxn>
                <a:cxn ang="0">
                  <a:pos x="T4" y="T5"/>
                </a:cxn>
                <a:cxn ang="0">
                  <a:pos x="T6" y="T7"/>
                </a:cxn>
              </a:cxnLst>
              <a:rect l="0" t="0" r="r" b="b"/>
              <a:pathLst>
                <a:path w="37" h="40">
                  <a:moveTo>
                    <a:pt x="32" y="6"/>
                  </a:moveTo>
                  <a:lnTo>
                    <a:pt x="0" y="0"/>
                  </a:lnTo>
                  <a:lnTo>
                    <a:pt x="2" y="31"/>
                  </a:lnTo>
                  <a:lnTo>
                    <a:pt x="37" y="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2" name="Freeform 50">
              <a:extLst>
                <a:ext uri="{FF2B5EF4-FFF2-40B4-BE49-F238E27FC236}">
                  <a16:creationId xmlns:a16="http://schemas.microsoft.com/office/drawing/2014/main" id="{83F1EB55-DFA1-4E83-9D8D-977726AB083B}"/>
                </a:ext>
              </a:extLst>
            </p:cNvPr>
            <p:cNvSpPr>
              <a:spLocks/>
            </p:cNvSpPr>
            <p:nvPr/>
          </p:nvSpPr>
          <p:spPr bwMode="auto">
            <a:xfrm>
              <a:off x="6192429" y="6384355"/>
              <a:ext cx="353326" cy="191385"/>
            </a:xfrm>
            <a:custGeom>
              <a:avLst/>
              <a:gdLst>
                <a:gd name="T0" fmla="*/ 5 w 101"/>
                <a:gd name="T1" fmla="*/ 8 h 55"/>
                <a:gd name="T2" fmla="*/ 36 w 101"/>
                <a:gd name="T3" fmla="*/ 1 h 55"/>
                <a:gd name="T4" fmla="*/ 67 w 101"/>
                <a:gd name="T5" fmla="*/ 8 h 55"/>
                <a:gd name="T6" fmla="*/ 81 w 101"/>
                <a:gd name="T7" fmla="*/ 18 h 55"/>
                <a:gd name="T8" fmla="*/ 99 w 101"/>
                <a:gd name="T9" fmla="*/ 22 h 55"/>
                <a:gd name="T10" fmla="*/ 75 w 101"/>
                <a:gd name="T11" fmla="*/ 51 h 55"/>
                <a:gd name="T12" fmla="*/ 13 w 101"/>
                <a:gd name="T13" fmla="*/ 48 h 55"/>
                <a:gd name="T14" fmla="*/ 1 w 101"/>
                <a:gd name="T15" fmla="*/ 27 h 55"/>
                <a:gd name="T16" fmla="*/ 5 w 101"/>
                <a:gd name="T17" fmla="*/ 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55">
                  <a:moveTo>
                    <a:pt x="5" y="8"/>
                  </a:moveTo>
                  <a:cubicBezTo>
                    <a:pt x="5" y="8"/>
                    <a:pt x="22" y="0"/>
                    <a:pt x="36" y="1"/>
                  </a:cubicBezTo>
                  <a:cubicBezTo>
                    <a:pt x="49" y="1"/>
                    <a:pt x="59" y="3"/>
                    <a:pt x="67" y="8"/>
                  </a:cubicBezTo>
                  <a:cubicBezTo>
                    <a:pt x="75" y="14"/>
                    <a:pt x="73" y="17"/>
                    <a:pt x="81" y="18"/>
                  </a:cubicBezTo>
                  <a:cubicBezTo>
                    <a:pt x="89" y="19"/>
                    <a:pt x="98" y="20"/>
                    <a:pt x="99" y="22"/>
                  </a:cubicBezTo>
                  <a:cubicBezTo>
                    <a:pt x="101" y="24"/>
                    <a:pt x="93" y="47"/>
                    <a:pt x="75" y="51"/>
                  </a:cubicBezTo>
                  <a:cubicBezTo>
                    <a:pt x="57" y="55"/>
                    <a:pt x="20" y="55"/>
                    <a:pt x="13" y="48"/>
                  </a:cubicBezTo>
                  <a:cubicBezTo>
                    <a:pt x="7" y="41"/>
                    <a:pt x="1" y="31"/>
                    <a:pt x="1" y="27"/>
                  </a:cubicBezTo>
                  <a:cubicBezTo>
                    <a:pt x="0" y="23"/>
                    <a:pt x="5" y="8"/>
                    <a:pt x="5" y="8"/>
                  </a:cubicBezTo>
                  <a:close/>
                </a:path>
              </a:pathLst>
            </a:custGeom>
            <a:solidFill>
              <a:srgbClr val="FFAB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3" name="Freeform 51">
              <a:extLst>
                <a:ext uri="{FF2B5EF4-FFF2-40B4-BE49-F238E27FC236}">
                  <a16:creationId xmlns:a16="http://schemas.microsoft.com/office/drawing/2014/main" id="{51DCD85B-6553-4170-8A99-3A3A0D22261D}"/>
                </a:ext>
              </a:extLst>
            </p:cNvPr>
            <p:cNvSpPr>
              <a:spLocks/>
            </p:cNvSpPr>
            <p:nvPr/>
          </p:nvSpPr>
          <p:spPr bwMode="auto">
            <a:xfrm>
              <a:off x="6302844" y="5961098"/>
              <a:ext cx="967968" cy="736096"/>
            </a:xfrm>
            <a:custGeom>
              <a:avLst/>
              <a:gdLst>
                <a:gd name="T0" fmla="*/ 15 w 279"/>
                <a:gd name="T1" fmla="*/ 211 h 211"/>
                <a:gd name="T2" fmla="*/ 165 w 279"/>
                <a:gd name="T3" fmla="*/ 178 h 211"/>
                <a:gd name="T4" fmla="*/ 179 w 279"/>
                <a:gd name="T5" fmla="*/ 171 h 211"/>
                <a:gd name="T6" fmla="*/ 179 w 279"/>
                <a:gd name="T7" fmla="*/ 171 h 211"/>
                <a:gd name="T8" fmla="*/ 184 w 279"/>
                <a:gd name="T9" fmla="*/ 168 h 211"/>
                <a:gd name="T10" fmla="*/ 205 w 279"/>
                <a:gd name="T11" fmla="*/ 156 h 211"/>
                <a:gd name="T12" fmla="*/ 239 w 279"/>
                <a:gd name="T13" fmla="*/ 97 h 211"/>
                <a:gd name="T14" fmla="*/ 271 w 279"/>
                <a:gd name="T15" fmla="*/ 0 h 211"/>
                <a:gd name="T16" fmla="*/ 165 w 279"/>
                <a:gd name="T17" fmla="*/ 90 h 211"/>
                <a:gd name="T18" fmla="*/ 101 w 279"/>
                <a:gd name="T19" fmla="*/ 119 h 211"/>
                <a:gd name="T20" fmla="*/ 0 w 279"/>
                <a:gd name="T21" fmla="*/ 176 h 211"/>
                <a:gd name="T22" fmla="*/ 16 w 279"/>
                <a:gd name="T23" fmla="*/ 205 h 211"/>
                <a:gd name="T24" fmla="*/ 15 w 279"/>
                <a:gd name="T25"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9" h="211">
                  <a:moveTo>
                    <a:pt x="15" y="211"/>
                  </a:moveTo>
                  <a:cubicBezTo>
                    <a:pt x="15" y="211"/>
                    <a:pt x="114" y="204"/>
                    <a:pt x="165" y="178"/>
                  </a:cubicBezTo>
                  <a:cubicBezTo>
                    <a:pt x="170" y="175"/>
                    <a:pt x="175" y="173"/>
                    <a:pt x="179" y="171"/>
                  </a:cubicBezTo>
                  <a:cubicBezTo>
                    <a:pt x="179" y="171"/>
                    <a:pt x="179" y="171"/>
                    <a:pt x="179" y="171"/>
                  </a:cubicBezTo>
                  <a:cubicBezTo>
                    <a:pt x="181" y="170"/>
                    <a:pt x="183" y="169"/>
                    <a:pt x="184" y="168"/>
                  </a:cubicBezTo>
                  <a:cubicBezTo>
                    <a:pt x="212" y="153"/>
                    <a:pt x="206" y="156"/>
                    <a:pt x="205" y="156"/>
                  </a:cubicBezTo>
                  <a:cubicBezTo>
                    <a:pt x="206" y="155"/>
                    <a:pt x="222" y="128"/>
                    <a:pt x="239" y="97"/>
                  </a:cubicBezTo>
                  <a:cubicBezTo>
                    <a:pt x="259" y="58"/>
                    <a:pt x="279" y="13"/>
                    <a:pt x="271" y="0"/>
                  </a:cubicBezTo>
                  <a:cubicBezTo>
                    <a:pt x="271" y="0"/>
                    <a:pt x="193" y="62"/>
                    <a:pt x="165" y="90"/>
                  </a:cubicBezTo>
                  <a:cubicBezTo>
                    <a:pt x="165" y="90"/>
                    <a:pt x="130" y="102"/>
                    <a:pt x="101" y="119"/>
                  </a:cubicBezTo>
                  <a:cubicBezTo>
                    <a:pt x="72" y="136"/>
                    <a:pt x="12" y="165"/>
                    <a:pt x="0" y="176"/>
                  </a:cubicBezTo>
                  <a:cubicBezTo>
                    <a:pt x="0" y="176"/>
                    <a:pt x="15" y="193"/>
                    <a:pt x="16" y="205"/>
                  </a:cubicBezTo>
                  <a:cubicBezTo>
                    <a:pt x="16" y="207"/>
                    <a:pt x="16" y="209"/>
                    <a:pt x="15" y="211"/>
                  </a:cubicBezTo>
                  <a:close/>
                </a:path>
              </a:pathLst>
            </a:custGeom>
            <a:solidFill>
              <a:srgbClr val="D4DEF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4" name="Freeform 52">
              <a:extLst>
                <a:ext uri="{FF2B5EF4-FFF2-40B4-BE49-F238E27FC236}">
                  <a16:creationId xmlns:a16="http://schemas.microsoft.com/office/drawing/2014/main" id="{FF5C792A-1CA2-4D2D-8662-34898FA9ABC0}"/>
                </a:ext>
              </a:extLst>
            </p:cNvPr>
            <p:cNvSpPr>
              <a:spLocks/>
            </p:cNvSpPr>
            <p:nvPr/>
          </p:nvSpPr>
          <p:spPr bwMode="auto">
            <a:xfrm>
              <a:off x="6924844" y="6229775"/>
              <a:ext cx="209789" cy="327564"/>
            </a:xfrm>
            <a:custGeom>
              <a:avLst/>
              <a:gdLst>
                <a:gd name="T0" fmla="*/ 0 w 60"/>
                <a:gd name="T1" fmla="*/ 94 h 94"/>
                <a:gd name="T2" fmla="*/ 26 w 60"/>
                <a:gd name="T3" fmla="*/ 79 h 94"/>
                <a:gd name="T4" fmla="*/ 60 w 60"/>
                <a:gd name="T5" fmla="*/ 20 h 94"/>
                <a:gd name="T6" fmla="*/ 58 w 60"/>
                <a:gd name="T7" fmla="*/ 0 h 94"/>
                <a:gd name="T8" fmla="*/ 0 w 60"/>
                <a:gd name="T9" fmla="*/ 94 h 94"/>
              </a:gdLst>
              <a:ahLst/>
              <a:cxnLst>
                <a:cxn ang="0">
                  <a:pos x="T0" y="T1"/>
                </a:cxn>
                <a:cxn ang="0">
                  <a:pos x="T2" y="T3"/>
                </a:cxn>
                <a:cxn ang="0">
                  <a:pos x="T4" y="T5"/>
                </a:cxn>
                <a:cxn ang="0">
                  <a:pos x="T6" y="T7"/>
                </a:cxn>
                <a:cxn ang="0">
                  <a:pos x="T8" y="T9"/>
                </a:cxn>
              </a:cxnLst>
              <a:rect l="0" t="0" r="r" b="b"/>
              <a:pathLst>
                <a:path w="60" h="94">
                  <a:moveTo>
                    <a:pt x="0" y="94"/>
                  </a:moveTo>
                  <a:cubicBezTo>
                    <a:pt x="34" y="76"/>
                    <a:pt x="27" y="79"/>
                    <a:pt x="26" y="79"/>
                  </a:cubicBezTo>
                  <a:cubicBezTo>
                    <a:pt x="27" y="78"/>
                    <a:pt x="43" y="51"/>
                    <a:pt x="60" y="20"/>
                  </a:cubicBezTo>
                  <a:cubicBezTo>
                    <a:pt x="58" y="0"/>
                    <a:pt x="58" y="0"/>
                    <a:pt x="58" y="0"/>
                  </a:cubicBezTo>
                  <a:lnTo>
                    <a:pt x="0" y="94"/>
                  </a:lnTo>
                  <a:close/>
                </a:path>
              </a:pathLst>
            </a:custGeom>
            <a:solidFill>
              <a:srgbClr val="B4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5" name="Freeform 53">
              <a:extLst>
                <a:ext uri="{FF2B5EF4-FFF2-40B4-BE49-F238E27FC236}">
                  <a16:creationId xmlns:a16="http://schemas.microsoft.com/office/drawing/2014/main" id="{834B649E-9045-401C-BBB8-299769B0ED00}"/>
                </a:ext>
              </a:extLst>
            </p:cNvPr>
            <p:cNvSpPr>
              <a:spLocks/>
            </p:cNvSpPr>
            <p:nvPr/>
          </p:nvSpPr>
          <p:spPr bwMode="auto">
            <a:xfrm>
              <a:off x="6354371" y="6505810"/>
              <a:ext cx="599920" cy="191385"/>
            </a:xfrm>
            <a:custGeom>
              <a:avLst/>
              <a:gdLst>
                <a:gd name="T0" fmla="*/ 0 w 173"/>
                <a:gd name="T1" fmla="*/ 55 h 55"/>
                <a:gd name="T2" fmla="*/ 150 w 173"/>
                <a:gd name="T3" fmla="*/ 22 h 55"/>
                <a:gd name="T4" fmla="*/ 164 w 173"/>
                <a:gd name="T5" fmla="*/ 15 h 55"/>
                <a:gd name="T6" fmla="*/ 164 w 173"/>
                <a:gd name="T7" fmla="*/ 15 h 55"/>
                <a:gd name="T8" fmla="*/ 169 w 173"/>
                <a:gd name="T9" fmla="*/ 12 h 55"/>
                <a:gd name="T10" fmla="*/ 173 w 173"/>
                <a:gd name="T11" fmla="*/ 0 h 55"/>
                <a:gd name="T12" fmla="*/ 1 w 173"/>
                <a:gd name="T13" fmla="*/ 49 h 55"/>
                <a:gd name="T14" fmla="*/ 0 w 173"/>
                <a:gd name="T15" fmla="*/ 55 h 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55">
                  <a:moveTo>
                    <a:pt x="0" y="55"/>
                  </a:moveTo>
                  <a:cubicBezTo>
                    <a:pt x="0" y="55"/>
                    <a:pt x="99" y="48"/>
                    <a:pt x="150" y="22"/>
                  </a:cubicBezTo>
                  <a:cubicBezTo>
                    <a:pt x="155" y="19"/>
                    <a:pt x="160" y="17"/>
                    <a:pt x="164" y="15"/>
                  </a:cubicBezTo>
                  <a:cubicBezTo>
                    <a:pt x="164" y="15"/>
                    <a:pt x="164" y="15"/>
                    <a:pt x="164" y="15"/>
                  </a:cubicBezTo>
                  <a:cubicBezTo>
                    <a:pt x="166" y="14"/>
                    <a:pt x="168" y="13"/>
                    <a:pt x="169" y="12"/>
                  </a:cubicBezTo>
                  <a:cubicBezTo>
                    <a:pt x="173" y="0"/>
                    <a:pt x="173" y="0"/>
                    <a:pt x="173" y="0"/>
                  </a:cubicBezTo>
                  <a:cubicBezTo>
                    <a:pt x="173" y="0"/>
                    <a:pt x="108" y="37"/>
                    <a:pt x="1" y="49"/>
                  </a:cubicBezTo>
                  <a:cubicBezTo>
                    <a:pt x="1" y="51"/>
                    <a:pt x="1" y="53"/>
                    <a:pt x="0" y="55"/>
                  </a:cubicBezTo>
                  <a:close/>
                </a:path>
              </a:pathLst>
            </a:custGeom>
            <a:solidFill>
              <a:srgbClr val="B4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6" name="Freeform 54">
              <a:extLst>
                <a:ext uri="{FF2B5EF4-FFF2-40B4-BE49-F238E27FC236}">
                  <a16:creationId xmlns:a16="http://schemas.microsoft.com/office/drawing/2014/main" id="{F7E3F510-7D41-4874-BF0C-33477875540E}"/>
                </a:ext>
              </a:extLst>
            </p:cNvPr>
            <p:cNvSpPr>
              <a:spLocks/>
            </p:cNvSpPr>
            <p:nvPr/>
          </p:nvSpPr>
          <p:spPr bwMode="auto">
            <a:xfrm>
              <a:off x="5055160" y="5843323"/>
              <a:ext cx="1085743" cy="680890"/>
            </a:xfrm>
            <a:custGeom>
              <a:avLst/>
              <a:gdLst>
                <a:gd name="T0" fmla="*/ 0 w 312"/>
                <a:gd name="T1" fmla="*/ 0 h 195"/>
                <a:gd name="T2" fmla="*/ 19 w 312"/>
                <a:gd name="T3" fmla="*/ 72 h 195"/>
                <a:gd name="T4" fmla="*/ 25 w 312"/>
                <a:gd name="T5" fmla="*/ 93 h 195"/>
                <a:gd name="T6" fmla="*/ 104 w 312"/>
                <a:gd name="T7" fmla="*/ 160 h 195"/>
                <a:gd name="T8" fmla="*/ 154 w 312"/>
                <a:gd name="T9" fmla="*/ 171 h 195"/>
                <a:gd name="T10" fmla="*/ 192 w 312"/>
                <a:gd name="T11" fmla="*/ 180 h 195"/>
                <a:gd name="T12" fmla="*/ 312 w 312"/>
                <a:gd name="T13" fmla="*/ 195 h 195"/>
                <a:gd name="T14" fmla="*/ 311 w 312"/>
                <a:gd name="T15" fmla="*/ 184 h 195"/>
                <a:gd name="T16" fmla="*/ 312 w 312"/>
                <a:gd name="T17" fmla="*/ 157 h 195"/>
                <a:gd name="T18" fmla="*/ 251 w 312"/>
                <a:gd name="T19" fmla="*/ 139 h 195"/>
                <a:gd name="T20" fmla="*/ 127 w 312"/>
                <a:gd name="T21" fmla="*/ 101 h 195"/>
                <a:gd name="T22" fmla="*/ 19 w 312"/>
                <a:gd name="T23" fmla="*/ 38 h 195"/>
                <a:gd name="T24" fmla="*/ 0 w 312"/>
                <a:gd name="T25"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 h="195">
                  <a:moveTo>
                    <a:pt x="0" y="0"/>
                  </a:moveTo>
                  <a:cubicBezTo>
                    <a:pt x="19" y="72"/>
                    <a:pt x="19" y="72"/>
                    <a:pt x="19" y="72"/>
                  </a:cubicBezTo>
                  <a:cubicBezTo>
                    <a:pt x="25" y="93"/>
                    <a:pt x="25" y="93"/>
                    <a:pt x="25" y="93"/>
                  </a:cubicBezTo>
                  <a:cubicBezTo>
                    <a:pt x="104" y="160"/>
                    <a:pt x="104" y="160"/>
                    <a:pt x="104" y="160"/>
                  </a:cubicBezTo>
                  <a:cubicBezTo>
                    <a:pt x="104" y="160"/>
                    <a:pt x="128" y="165"/>
                    <a:pt x="154" y="171"/>
                  </a:cubicBezTo>
                  <a:cubicBezTo>
                    <a:pt x="167" y="174"/>
                    <a:pt x="181" y="178"/>
                    <a:pt x="192" y="180"/>
                  </a:cubicBezTo>
                  <a:cubicBezTo>
                    <a:pt x="224" y="188"/>
                    <a:pt x="312" y="195"/>
                    <a:pt x="312" y="195"/>
                  </a:cubicBezTo>
                  <a:cubicBezTo>
                    <a:pt x="311" y="192"/>
                    <a:pt x="311" y="188"/>
                    <a:pt x="311" y="184"/>
                  </a:cubicBezTo>
                  <a:cubicBezTo>
                    <a:pt x="310" y="172"/>
                    <a:pt x="312" y="157"/>
                    <a:pt x="312" y="157"/>
                  </a:cubicBezTo>
                  <a:cubicBezTo>
                    <a:pt x="312" y="157"/>
                    <a:pt x="297" y="151"/>
                    <a:pt x="251" y="139"/>
                  </a:cubicBezTo>
                  <a:cubicBezTo>
                    <a:pt x="205" y="128"/>
                    <a:pt x="149" y="120"/>
                    <a:pt x="127" y="101"/>
                  </a:cubicBezTo>
                  <a:cubicBezTo>
                    <a:pt x="109" y="87"/>
                    <a:pt x="46" y="52"/>
                    <a:pt x="19" y="38"/>
                  </a:cubicBezTo>
                  <a:cubicBezTo>
                    <a:pt x="11" y="34"/>
                    <a:pt x="0" y="0"/>
                    <a:pt x="0" y="0"/>
                  </a:cubicBezTo>
                  <a:close/>
                </a:path>
              </a:pathLst>
            </a:custGeom>
            <a:solidFill>
              <a:srgbClr val="4D4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7" name="Freeform 55">
              <a:extLst>
                <a:ext uri="{FF2B5EF4-FFF2-40B4-BE49-F238E27FC236}">
                  <a16:creationId xmlns:a16="http://schemas.microsoft.com/office/drawing/2014/main" id="{C269AA4E-0899-4F7E-B67E-F9E9F3B9BC1B}"/>
                </a:ext>
              </a:extLst>
            </p:cNvPr>
            <p:cNvSpPr>
              <a:spLocks/>
            </p:cNvSpPr>
            <p:nvPr/>
          </p:nvSpPr>
          <p:spPr bwMode="auto">
            <a:xfrm>
              <a:off x="7649900" y="10094280"/>
              <a:ext cx="187706" cy="217150"/>
            </a:xfrm>
            <a:custGeom>
              <a:avLst/>
              <a:gdLst>
                <a:gd name="T0" fmla="*/ 51 w 51"/>
                <a:gd name="T1" fmla="*/ 12 h 59"/>
                <a:gd name="T2" fmla="*/ 51 w 51"/>
                <a:gd name="T3" fmla="*/ 59 h 59"/>
                <a:gd name="T4" fmla="*/ 0 w 51"/>
                <a:gd name="T5" fmla="*/ 59 h 59"/>
                <a:gd name="T6" fmla="*/ 3 w 51"/>
                <a:gd name="T7" fmla="*/ 0 h 59"/>
                <a:gd name="T8" fmla="*/ 51 w 51"/>
                <a:gd name="T9" fmla="*/ 12 h 59"/>
              </a:gdLst>
              <a:ahLst/>
              <a:cxnLst>
                <a:cxn ang="0">
                  <a:pos x="T0" y="T1"/>
                </a:cxn>
                <a:cxn ang="0">
                  <a:pos x="T2" y="T3"/>
                </a:cxn>
                <a:cxn ang="0">
                  <a:pos x="T4" y="T5"/>
                </a:cxn>
                <a:cxn ang="0">
                  <a:pos x="T6" y="T7"/>
                </a:cxn>
                <a:cxn ang="0">
                  <a:pos x="T8" y="T9"/>
                </a:cxn>
              </a:cxnLst>
              <a:rect l="0" t="0" r="r" b="b"/>
              <a:pathLst>
                <a:path w="51" h="59">
                  <a:moveTo>
                    <a:pt x="51" y="12"/>
                  </a:moveTo>
                  <a:lnTo>
                    <a:pt x="51" y="59"/>
                  </a:lnTo>
                  <a:lnTo>
                    <a:pt x="0" y="59"/>
                  </a:lnTo>
                  <a:lnTo>
                    <a:pt x="3" y="0"/>
                  </a:lnTo>
                  <a:lnTo>
                    <a:pt x="51" y="12"/>
                  </a:lnTo>
                  <a:close/>
                </a:path>
              </a:pathLst>
            </a:custGeom>
            <a:solidFill>
              <a:srgbClr val="FCCD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8" name="Freeform 56">
              <a:extLst>
                <a:ext uri="{FF2B5EF4-FFF2-40B4-BE49-F238E27FC236}">
                  <a16:creationId xmlns:a16="http://schemas.microsoft.com/office/drawing/2014/main" id="{1E95393E-AEA0-4EB5-861E-394F740591F1}"/>
                </a:ext>
              </a:extLst>
            </p:cNvPr>
            <p:cNvSpPr>
              <a:spLocks/>
            </p:cNvSpPr>
            <p:nvPr/>
          </p:nvSpPr>
          <p:spPr bwMode="auto">
            <a:xfrm>
              <a:off x="7164076" y="10215735"/>
              <a:ext cx="783944" cy="382770"/>
            </a:xfrm>
            <a:custGeom>
              <a:avLst/>
              <a:gdLst>
                <a:gd name="T0" fmla="*/ 207 w 225"/>
                <a:gd name="T1" fmla="*/ 17 h 110"/>
                <a:gd name="T2" fmla="*/ 211 w 225"/>
                <a:gd name="T3" fmla="*/ 93 h 110"/>
                <a:gd name="T4" fmla="*/ 154 w 225"/>
                <a:gd name="T5" fmla="*/ 99 h 110"/>
                <a:gd name="T6" fmla="*/ 156 w 225"/>
                <a:gd name="T7" fmla="*/ 89 h 110"/>
                <a:gd name="T8" fmla="*/ 70 w 225"/>
                <a:gd name="T9" fmla="*/ 109 h 110"/>
                <a:gd name="T10" fmla="*/ 9 w 225"/>
                <a:gd name="T11" fmla="*/ 96 h 110"/>
                <a:gd name="T12" fmla="*/ 9 w 225"/>
                <a:gd name="T13" fmla="*/ 77 h 110"/>
                <a:gd name="T14" fmla="*/ 136 w 225"/>
                <a:gd name="T15" fmla="*/ 0 h 110"/>
                <a:gd name="T16" fmla="*/ 207 w 225"/>
                <a:gd name="T17" fmla="*/ 1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110">
                  <a:moveTo>
                    <a:pt x="207" y="17"/>
                  </a:moveTo>
                  <a:cubicBezTo>
                    <a:pt x="207" y="17"/>
                    <a:pt x="225" y="68"/>
                    <a:pt x="211" y="93"/>
                  </a:cubicBezTo>
                  <a:cubicBezTo>
                    <a:pt x="197" y="98"/>
                    <a:pt x="176" y="99"/>
                    <a:pt x="154" y="99"/>
                  </a:cubicBezTo>
                  <a:cubicBezTo>
                    <a:pt x="156" y="89"/>
                    <a:pt x="156" y="89"/>
                    <a:pt x="156" y="89"/>
                  </a:cubicBezTo>
                  <a:cubicBezTo>
                    <a:pt x="70" y="109"/>
                    <a:pt x="70" y="109"/>
                    <a:pt x="70" y="109"/>
                  </a:cubicBezTo>
                  <a:cubicBezTo>
                    <a:pt x="51" y="110"/>
                    <a:pt x="30" y="104"/>
                    <a:pt x="9" y="96"/>
                  </a:cubicBezTo>
                  <a:cubicBezTo>
                    <a:pt x="0" y="93"/>
                    <a:pt x="1" y="80"/>
                    <a:pt x="9" y="77"/>
                  </a:cubicBezTo>
                  <a:cubicBezTo>
                    <a:pt x="65" y="57"/>
                    <a:pt x="111" y="33"/>
                    <a:pt x="136" y="0"/>
                  </a:cubicBezTo>
                  <a:cubicBezTo>
                    <a:pt x="157" y="17"/>
                    <a:pt x="180" y="24"/>
                    <a:pt x="207" y="17"/>
                  </a:cubicBezTo>
                  <a:close/>
                </a:path>
              </a:pathLst>
            </a:custGeom>
            <a:solidFill>
              <a:srgbClr val="5B21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59" name="Freeform 57">
              <a:extLst>
                <a:ext uri="{FF2B5EF4-FFF2-40B4-BE49-F238E27FC236}">
                  <a16:creationId xmlns:a16="http://schemas.microsoft.com/office/drawing/2014/main" id="{405A4250-591E-4951-87AD-8C8832394F92}"/>
                </a:ext>
              </a:extLst>
            </p:cNvPr>
            <p:cNvSpPr>
              <a:spLocks/>
            </p:cNvSpPr>
            <p:nvPr/>
          </p:nvSpPr>
          <p:spPr bwMode="auto">
            <a:xfrm>
              <a:off x="7164076" y="5037299"/>
              <a:ext cx="610960" cy="625682"/>
            </a:xfrm>
            <a:custGeom>
              <a:avLst/>
              <a:gdLst>
                <a:gd name="T0" fmla="*/ 6 w 175"/>
                <a:gd name="T1" fmla="*/ 136 h 180"/>
                <a:gd name="T2" fmla="*/ 14 w 175"/>
                <a:gd name="T3" fmla="*/ 142 h 180"/>
                <a:gd name="T4" fmla="*/ 22 w 175"/>
                <a:gd name="T5" fmla="*/ 161 h 180"/>
                <a:gd name="T6" fmla="*/ 36 w 175"/>
                <a:gd name="T7" fmla="*/ 179 h 180"/>
                <a:gd name="T8" fmla="*/ 74 w 175"/>
                <a:gd name="T9" fmla="*/ 160 h 180"/>
                <a:gd name="T10" fmla="*/ 84 w 175"/>
                <a:gd name="T11" fmla="*/ 153 h 180"/>
                <a:gd name="T12" fmla="*/ 141 w 175"/>
                <a:gd name="T13" fmla="*/ 136 h 180"/>
                <a:gd name="T14" fmla="*/ 159 w 175"/>
                <a:gd name="T15" fmla="*/ 50 h 180"/>
                <a:gd name="T16" fmla="*/ 116 w 175"/>
                <a:gd name="T17" fmla="*/ 9 h 180"/>
                <a:gd name="T18" fmla="*/ 45 w 175"/>
                <a:gd name="T19" fmla="*/ 21 h 180"/>
                <a:gd name="T20" fmla="*/ 15 w 175"/>
                <a:gd name="T21" fmla="*/ 79 h 180"/>
                <a:gd name="T22" fmla="*/ 12 w 175"/>
                <a:gd name="T23" fmla="*/ 111 h 180"/>
                <a:gd name="T24" fmla="*/ 6 w 175"/>
                <a:gd name="T25" fmla="*/ 13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180">
                  <a:moveTo>
                    <a:pt x="6" y="136"/>
                  </a:moveTo>
                  <a:cubicBezTo>
                    <a:pt x="7" y="137"/>
                    <a:pt x="10" y="139"/>
                    <a:pt x="14" y="142"/>
                  </a:cubicBezTo>
                  <a:cubicBezTo>
                    <a:pt x="18" y="146"/>
                    <a:pt x="22" y="152"/>
                    <a:pt x="22" y="161"/>
                  </a:cubicBezTo>
                  <a:cubicBezTo>
                    <a:pt x="23" y="178"/>
                    <a:pt x="28" y="177"/>
                    <a:pt x="36" y="179"/>
                  </a:cubicBezTo>
                  <a:cubicBezTo>
                    <a:pt x="42" y="180"/>
                    <a:pt x="57" y="170"/>
                    <a:pt x="74" y="160"/>
                  </a:cubicBezTo>
                  <a:cubicBezTo>
                    <a:pt x="77" y="158"/>
                    <a:pt x="80" y="155"/>
                    <a:pt x="84" y="153"/>
                  </a:cubicBezTo>
                  <a:cubicBezTo>
                    <a:pt x="104" y="141"/>
                    <a:pt x="141" y="136"/>
                    <a:pt x="141" y="136"/>
                  </a:cubicBezTo>
                  <a:cubicBezTo>
                    <a:pt x="175" y="94"/>
                    <a:pt x="163" y="67"/>
                    <a:pt x="159" y="50"/>
                  </a:cubicBezTo>
                  <a:cubicBezTo>
                    <a:pt x="155" y="34"/>
                    <a:pt x="134" y="17"/>
                    <a:pt x="116" y="9"/>
                  </a:cubicBezTo>
                  <a:cubicBezTo>
                    <a:pt x="97" y="0"/>
                    <a:pt x="74" y="5"/>
                    <a:pt x="45" y="21"/>
                  </a:cubicBezTo>
                  <a:cubicBezTo>
                    <a:pt x="16" y="37"/>
                    <a:pt x="15" y="79"/>
                    <a:pt x="15" y="79"/>
                  </a:cubicBezTo>
                  <a:cubicBezTo>
                    <a:pt x="15" y="79"/>
                    <a:pt x="25" y="93"/>
                    <a:pt x="12" y="111"/>
                  </a:cubicBezTo>
                  <a:cubicBezTo>
                    <a:pt x="0" y="128"/>
                    <a:pt x="3" y="134"/>
                    <a:pt x="6" y="136"/>
                  </a:cubicBezTo>
                  <a:close/>
                </a:path>
              </a:pathLst>
            </a:custGeom>
            <a:solidFill>
              <a:srgbClr val="FCCD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0" name="Freeform 58">
              <a:extLst>
                <a:ext uri="{FF2B5EF4-FFF2-40B4-BE49-F238E27FC236}">
                  <a16:creationId xmlns:a16="http://schemas.microsoft.com/office/drawing/2014/main" id="{48464BA5-35DA-401C-83CB-B3991FC3ECB6}"/>
                </a:ext>
              </a:extLst>
            </p:cNvPr>
            <p:cNvSpPr>
              <a:spLocks/>
            </p:cNvSpPr>
            <p:nvPr/>
          </p:nvSpPr>
          <p:spPr bwMode="auto">
            <a:xfrm>
              <a:off x="6902761" y="7072604"/>
              <a:ext cx="747139" cy="437978"/>
            </a:xfrm>
            <a:custGeom>
              <a:avLst/>
              <a:gdLst>
                <a:gd name="T0" fmla="*/ 0 w 215"/>
                <a:gd name="T1" fmla="*/ 0 h 126"/>
                <a:gd name="T2" fmla="*/ 1 w 215"/>
                <a:gd name="T3" fmla="*/ 2 h 126"/>
                <a:gd name="T4" fmla="*/ 12 w 215"/>
                <a:gd name="T5" fmla="*/ 41 h 126"/>
                <a:gd name="T6" fmla="*/ 25 w 215"/>
                <a:gd name="T7" fmla="*/ 71 h 126"/>
                <a:gd name="T8" fmla="*/ 200 w 215"/>
                <a:gd name="T9" fmla="*/ 102 h 126"/>
                <a:gd name="T10" fmla="*/ 215 w 215"/>
                <a:gd name="T11" fmla="*/ 42 h 126"/>
                <a:gd name="T12" fmla="*/ 215 w 215"/>
                <a:gd name="T13" fmla="*/ 21 h 126"/>
                <a:gd name="T14" fmla="*/ 215 w 215"/>
                <a:gd name="T15" fmla="*/ 18 h 126"/>
                <a:gd name="T16" fmla="*/ 0 w 215"/>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126">
                  <a:moveTo>
                    <a:pt x="0" y="0"/>
                  </a:moveTo>
                  <a:cubicBezTo>
                    <a:pt x="0" y="0"/>
                    <a:pt x="1" y="1"/>
                    <a:pt x="1" y="2"/>
                  </a:cubicBezTo>
                  <a:cubicBezTo>
                    <a:pt x="3" y="16"/>
                    <a:pt x="7" y="29"/>
                    <a:pt x="12" y="41"/>
                  </a:cubicBezTo>
                  <a:cubicBezTo>
                    <a:pt x="15" y="52"/>
                    <a:pt x="20" y="62"/>
                    <a:pt x="25" y="71"/>
                  </a:cubicBezTo>
                  <a:cubicBezTo>
                    <a:pt x="50" y="119"/>
                    <a:pt x="177" y="126"/>
                    <a:pt x="200" y="102"/>
                  </a:cubicBezTo>
                  <a:cubicBezTo>
                    <a:pt x="210" y="92"/>
                    <a:pt x="214" y="68"/>
                    <a:pt x="215" y="42"/>
                  </a:cubicBezTo>
                  <a:cubicBezTo>
                    <a:pt x="215" y="35"/>
                    <a:pt x="215" y="28"/>
                    <a:pt x="215" y="21"/>
                  </a:cubicBezTo>
                  <a:cubicBezTo>
                    <a:pt x="215" y="19"/>
                    <a:pt x="215" y="18"/>
                    <a:pt x="215" y="18"/>
                  </a:cubicBezTo>
                  <a:cubicBezTo>
                    <a:pt x="215" y="18"/>
                    <a:pt x="69" y="38"/>
                    <a:pt x="0" y="0"/>
                  </a:cubicBezTo>
                  <a:close/>
                </a:path>
              </a:pathLst>
            </a:custGeom>
            <a:solidFill>
              <a:srgbClr val="E6E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1" name="Freeform 59">
              <a:extLst>
                <a:ext uri="{FF2B5EF4-FFF2-40B4-BE49-F238E27FC236}">
                  <a16:creationId xmlns:a16="http://schemas.microsoft.com/office/drawing/2014/main" id="{3F4E27DA-AECB-40A6-B716-907E23165AA4}"/>
                </a:ext>
              </a:extLst>
            </p:cNvPr>
            <p:cNvSpPr>
              <a:spLocks/>
            </p:cNvSpPr>
            <p:nvPr/>
          </p:nvSpPr>
          <p:spPr bwMode="auto">
            <a:xfrm>
              <a:off x="6891721" y="5703465"/>
              <a:ext cx="875954" cy="1387543"/>
            </a:xfrm>
            <a:custGeom>
              <a:avLst/>
              <a:gdLst>
                <a:gd name="T0" fmla="*/ 0 w 251"/>
                <a:gd name="T1" fmla="*/ 355 h 398"/>
                <a:gd name="T2" fmla="*/ 0 w 251"/>
                <a:gd name="T3" fmla="*/ 355 h 398"/>
                <a:gd name="T4" fmla="*/ 1 w 251"/>
                <a:gd name="T5" fmla="*/ 375 h 398"/>
                <a:gd name="T6" fmla="*/ 87 w 251"/>
                <a:gd name="T7" fmla="*/ 393 h 398"/>
                <a:gd name="T8" fmla="*/ 217 w 251"/>
                <a:gd name="T9" fmla="*/ 393 h 398"/>
                <a:gd name="T10" fmla="*/ 217 w 251"/>
                <a:gd name="T11" fmla="*/ 393 h 398"/>
                <a:gd name="T12" fmla="*/ 209 w 251"/>
                <a:gd name="T13" fmla="*/ 340 h 398"/>
                <a:gd name="T14" fmla="*/ 216 w 251"/>
                <a:gd name="T15" fmla="*/ 222 h 398"/>
                <a:gd name="T16" fmla="*/ 220 w 251"/>
                <a:gd name="T17" fmla="*/ 182 h 398"/>
                <a:gd name="T18" fmla="*/ 222 w 251"/>
                <a:gd name="T19" fmla="*/ 167 h 398"/>
                <a:gd name="T20" fmla="*/ 242 w 251"/>
                <a:gd name="T21" fmla="*/ 84 h 398"/>
                <a:gd name="T22" fmla="*/ 209 w 251"/>
                <a:gd name="T23" fmla="*/ 21 h 398"/>
                <a:gd name="T24" fmla="*/ 110 w 251"/>
                <a:gd name="T25" fmla="*/ 61 h 398"/>
                <a:gd name="T26" fmla="*/ 110 w 251"/>
                <a:gd name="T27" fmla="*/ 61 h 398"/>
                <a:gd name="T28" fmla="*/ 93 w 251"/>
                <a:gd name="T29" fmla="*/ 88 h 398"/>
                <a:gd name="T30" fmla="*/ 19 w 251"/>
                <a:gd name="T31" fmla="*/ 268 h 398"/>
                <a:gd name="T32" fmla="*/ 0 w 251"/>
                <a:gd name="T33" fmla="*/ 355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1" h="398">
                  <a:moveTo>
                    <a:pt x="0" y="355"/>
                  </a:moveTo>
                  <a:cubicBezTo>
                    <a:pt x="0" y="355"/>
                    <a:pt x="0" y="355"/>
                    <a:pt x="0" y="355"/>
                  </a:cubicBezTo>
                  <a:cubicBezTo>
                    <a:pt x="0" y="362"/>
                    <a:pt x="0" y="368"/>
                    <a:pt x="1" y="375"/>
                  </a:cubicBezTo>
                  <a:cubicBezTo>
                    <a:pt x="23" y="385"/>
                    <a:pt x="55" y="390"/>
                    <a:pt x="87" y="393"/>
                  </a:cubicBezTo>
                  <a:cubicBezTo>
                    <a:pt x="151" y="398"/>
                    <a:pt x="217" y="393"/>
                    <a:pt x="217" y="393"/>
                  </a:cubicBezTo>
                  <a:cubicBezTo>
                    <a:pt x="217" y="393"/>
                    <a:pt x="217" y="393"/>
                    <a:pt x="217" y="393"/>
                  </a:cubicBezTo>
                  <a:cubicBezTo>
                    <a:pt x="215" y="369"/>
                    <a:pt x="212" y="348"/>
                    <a:pt x="209" y="340"/>
                  </a:cubicBezTo>
                  <a:cubicBezTo>
                    <a:pt x="206" y="330"/>
                    <a:pt x="210" y="279"/>
                    <a:pt x="216" y="222"/>
                  </a:cubicBezTo>
                  <a:cubicBezTo>
                    <a:pt x="217" y="208"/>
                    <a:pt x="219" y="195"/>
                    <a:pt x="220" y="182"/>
                  </a:cubicBezTo>
                  <a:cubicBezTo>
                    <a:pt x="221" y="177"/>
                    <a:pt x="221" y="172"/>
                    <a:pt x="222" y="167"/>
                  </a:cubicBezTo>
                  <a:cubicBezTo>
                    <a:pt x="226" y="128"/>
                    <a:pt x="251" y="131"/>
                    <a:pt x="242" y="84"/>
                  </a:cubicBezTo>
                  <a:cubicBezTo>
                    <a:pt x="239" y="65"/>
                    <a:pt x="226" y="29"/>
                    <a:pt x="209" y="21"/>
                  </a:cubicBezTo>
                  <a:cubicBezTo>
                    <a:pt x="167" y="0"/>
                    <a:pt x="131" y="33"/>
                    <a:pt x="110" y="61"/>
                  </a:cubicBezTo>
                  <a:cubicBezTo>
                    <a:pt x="110" y="61"/>
                    <a:pt x="110" y="61"/>
                    <a:pt x="110" y="61"/>
                  </a:cubicBezTo>
                  <a:cubicBezTo>
                    <a:pt x="102" y="72"/>
                    <a:pt x="96" y="82"/>
                    <a:pt x="93" y="88"/>
                  </a:cubicBezTo>
                  <a:cubicBezTo>
                    <a:pt x="79" y="112"/>
                    <a:pt x="54" y="191"/>
                    <a:pt x="19" y="268"/>
                  </a:cubicBezTo>
                  <a:cubicBezTo>
                    <a:pt x="6" y="298"/>
                    <a:pt x="0" y="327"/>
                    <a:pt x="0" y="355"/>
                  </a:cubicBezTo>
                  <a:close/>
                </a:path>
              </a:pathLst>
            </a:custGeom>
            <a:solidFill>
              <a:srgbClr val="E6E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2" name="Freeform 60">
              <a:extLst>
                <a:ext uri="{FF2B5EF4-FFF2-40B4-BE49-F238E27FC236}">
                  <a16:creationId xmlns:a16="http://schemas.microsoft.com/office/drawing/2014/main" id="{99F844A0-95AB-4187-9C10-BD62B41E134A}"/>
                </a:ext>
              </a:extLst>
            </p:cNvPr>
            <p:cNvSpPr>
              <a:spLocks/>
            </p:cNvSpPr>
            <p:nvPr/>
          </p:nvSpPr>
          <p:spPr bwMode="auto">
            <a:xfrm>
              <a:off x="6902761" y="7072604"/>
              <a:ext cx="1045257" cy="3143131"/>
            </a:xfrm>
            <a:custGeom>
              <a:avLst/>
              <a:gdLst>
                <a:gd name="T0" fmla="*/ 0 w 300"/>
                <a:gd name="T1" fmla="*/ 0 h 903"/>
                <a:gd name="T2" fmla="*/ 1 w 300"/>
                <a:gd name="T3" fmla="*/ 2 h 903"/>
                <a:gd name="T4" fmla="*/ 7 w 300"/>
                <a:gd name="T5" fmla="*/ 41 h 903"/>
                <a:gd name="T6" fmla="*/ 100 w 300"/>
                <a:gd name="T7" fmla="*/ 527 h 903"/>
                <a:gd name="T8" fmla="*/ 187 w 300"/>
                <a:gd name="T9" fmla="*/ 903 h 903"/>
                <a:gd name="T10" fmla="*/ 300 w 300"/>
                <a:gd name="T11" fmla="*/ 903 h 903"/>
                <a:gd name="T12" fmla="*/ 246 w 300"/>
                <a:gd name="T13" fmla="*/ 519 h 903"/>
                <a:gd name="T14" fmla="*/ 215 w 300"/>
                <a:gd name="T15" fmla="*/ 42 h 903"/>
                <a:gd name="T16" fmla="*/ 215 w 300"/>
                <a:gd name="T17" fmla="*/ 21 h 903"/>
                <a:gd name="T18" fmla="*/ 215 w 300"/>
                <a:gd name="T19" fmla="*/ 20 h 903"/>
                <a:gd name="T20" fmla="*/ 215 w 300"/>
                <a:gd name="T21" fmla="*/ 18 h 903"/>
                <a:gd name="T22" fmla="*/ 0 w 300"/>
                <a:gd name="T23" fmla="*/ 0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0" h="903">
                  <a:moveTo>
                    <a:pt x="0" y="0"/>
                  </a:moveTo>
                  <a:cubicBezTo>
                    <a:pt x="0" y="0"/>
                    <a:pt x="1" y="1"/>
                    <a:pt x="1" y="2"/>
                  </a:cubicBezTo>
                  <a:cubicBezTo>
                    <a:pt x="1" y="6"/>
                    <a:pt x="4" y="20"/>
                    <a:pt x="7" y="41"/>
                  </a:cubicBezTo>
                  <a:cubicBezTo>
                    <a:pt x="26" y="158"/>
                    <a:pt x="80" y="483"/>
                    <a:pt x="100" y="527"/>
                  </a:cubicBezTo>
                  <a:cubicBezTo>
                    <a:pt x="123" y="581"/>
                    <a:pt x="187" y="903"/>
                    <a:pt x="187" y="903"/>
                  </a:cubicBezTo>
                  <a:cubicBezTo>
                    <a:pt x="300" y="903"/>
                    <a:pt x="300" y="903"/>
                    <a:pt x="300" y="903"/>
                  </a:cubicBezTo>
                  <a:cubicBezTo>
                    <a:pt x="300" y="903"/>
                    <a:pt x="268" y="589"/>
                    <a:pt x="246" y="519"/>
                  </a:cubicBezTo>
                  <a:cubicBezTo>
                    <a:pt x="228" y="459"/>
                    <a:pt x="218" y="133"/>
                    <a:pt x="215" y="42"/>
                  </a:cubicBezTo>
                  <a:cubicBezTo>
                    <a:pt x="215" y="32"/>
                    <a:pt x="215" y="24"/>
                    <a:pt x="215" y="21"/>
                  </a:cubicBezTo>
                  <a:cubicBezTo>
                    <a:pt x="215" y="20"/>
                    <a:pt x="215" y="20"/>
                    <a:pt x="215" y="20"/>
                  </a:cubicBezTo>
                  <a:cubicBezTo>
                    <a:pt x="215" y="19"/>
                    <a:pt x="215" y="18"/>
                    <a:pt x="215" y="18"/>
                  </a:cubicBezTo>
                  <a:cubicBezTo>
                    <a:pt x="215" y="18"/>
                    <a:pt x="69" y="38"/>
                    <a:pt x="0" y="0"/>
                  </a:cubicBezTo>
                  <a:close/>
                </a:path>
              </a:pathLst>
            </a:custGeom>
            <a:solidFill>
              <a:srgbClr val="E6E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3" name="Freeform 61">
              <a:extLst>
                <a:ext uri="{FF2B5EF4-FFF2-40B4-BE49-F238E27FC236}">
                  <a16:creationId xmlns:a16="http://schemas.microsoft.com/office/drawing/2014/main" id="{7BB54863-D507-46BE-BD2F-7F0F4818B7BE}"/>
                </a:ext>
              </a:extLst>
            </p:cNvPr>
            <p:cNvSpPr>
              <a:spLocks/>
            </p:cNvSpPr>
            <p:nvPr/>
          </p:nvSpPr>
          <p:spPr bwMode="auto">
            <a:xfrm>
              <a:off x="4698154" y="5420069"/>
              <a:ext cx="309160" cy="371730"/>
            </a:xfrm>
            <a:custGeom>
              <a:avLst/>
              <a:gdLst>
                <a:gd name="T0" fmla="*/ 0 w 84"/>
                <a:gd name="T1" fmla="*/ 92 h 101"/>
                <a:gd name="T2" fmla="*/ 64 w 84"/>
                <a:gd name="T3" fmla="*/ 99 h 101"/>
                <a:gd name="T4" fmla="*/ 84 w 84"/>
                <a:gd name="T5" fmla="*/ 101 h 101"/>
                <a:gd name="T6" fmla="*/ 84 w 84"/>
                <a:gd name="T7" fmla="*/ 57 h 101"/>
                <a:gd name="T8" fmla="*/ 40 w 84"/>
                <a:gd name="T9" fmla="*/ 24 h 101"/>
                <a:gd name="T10" fmla="*/ 7 w 84"/>
                <a:gd name="T11" fmla="*/ 0 h 101"/>
                <a:gd name="T12" fmla="*/ 0 w 84"/>
                <a:gd name="T13" fmla="*/ 92 h 101"/>
              </a:gdLst>
              <a:ahLst/>
              <a:cxnLst>
                <a:cxn ang="0">
                  <a:pos x="T0" y="T1"/>
                </a:cxn>
                <a:cxn ang="0">
                  <a:pos x="T2" y="T3"/>
                </a:cxn>
                <a:cxn ang="0">
                  <a:pos x="T4" y="T5"/>
                </a:cxn>
                <a:cxn ang="0">
                  <a:pos x="T6" y="T7"/>
                </a:cxn>
                <a:cxn ang="0">
                  <a:pos x="T8" y="T9"/>
                </a:cxn>
                <a:cxn ang="0">
                  <a:pos x="T10" y="T11"/>
                </a:cxn>
                <a:cxn ang="0">
                  <a:pos x="T12" y="T13"/>
                </a:cxn>
              </a:cxnLst>
              <a:rect l="0" t="0" r="r" b="b"/>
              <a:pathLst>
                <a:path w="84" h="101">
                  <a:moveTo>
                    <a:pt x="0" y="92"/>
                  </a:moveTo>
                  <a:lnTo>
                    <a:pt x="64" y="99"/>
                  </a:lnTo>
                  <a:lnTo>
                    <a:pt x="84" y="101"/>
                  </a:lnTo>
                  <a:lnTo>
                    <a:pt x="84" y="57"/>
                  </a:lnTo>
                  <a:lnTo>
                    <a:pt x="40" y="24"/>
                  </a:lnTo>
                  <a:lnTo>
                    <a:pt x="7" y="0"/>
                  </a:lnTo>
                  <a:lnTo>
                    <a:pt x="0" y="92"/>
                  </a:lnTo>
                  <a:close/>
                </a:path>
              </a:pathLst>
            </a:custGeom>
            <a:solidFill>
              <a:srgbClr val="FCA1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4" name="Freeform 62">
              <a:extLst>
                <a:ext uri="{FF2B5EF4-FFF2-40B4-BE49-F238E27FC236}">
                  <a16:creationId xmlns:a16="http://schemas.microsoft.com/office/drawing/2014/main" id="{172AC2F2-E86A-4D77-9145-5A7757BD4FEB}"/>
                </a:ext>
              </a:extLst>
            </p:cNvPr>
            <p:cNvSpPr>
              <a:spLocks/>
            </p:cNvSpPr>
            <p:nvPr/>
          </p:nvSpPr>
          <p:spPr bwMode="auto">
            <a:xfrm>
              <a:off x="7274491" y="5725548"/>
              <a:ext cx="415896" cy="191385"/>
            </a:xfrm>
            <a:custGeom>
              <a:avLst/>
              <a:gdLst>
                <a:gd name="T0" fmla="*/ 0 w 119"/>
                <a:gd name="T1" fmla="*/ 55 h 55"/>
                <a:gd name="T2" fmla="*/ 119 w 119"/>
                <a:gd name="T3" fmla="*/ 35 h 55"/>
                <a:gd name="T4" fmla="*/ 85 w 119"/>
                <a:gd name="T5" fmla="*/ 26 h 55"/>
                <a:gd name="T6" fmla="*/ 50 w 119"/>
                <a:gd name="T7" fmla="*/ 0 h 55"/>
                <a:gd name="T8" fmla="*/ 24 w 119"/>
                <a:gd name="T9" fmla="*/ 4 h 55"/>
                <a:gd name="T10" fmla="*/ 17 w 119"/>
                <a:gd name="T11" fmla="*/ 5 h 55"/>
                <a:gd name="T12" fmla="*/ 0 w 119"/>
                <a:gd name="T13" fmla="*/ 55 h 55"/>
              </a:gdLst>
              <a:ahLst/>
              <a:cxnLst>
                <a:cxn ang="0">
                  <a:pos x="T0" y="T1"/>
                </a:cxn>
                <a:cxn ang="0">
                  <a:pos x="T2" y="T3"/>
                </a:cxn>
                <a:cxn ang="0">
                  <a:pos x="T4" y="T5"/>
                </a:cxn>
                <a:cxn ang="0">
                  <a:pos x="T6" y="T7"/>
                </a:cxn>
                <a:cxn ang="0">
                  <a:pos x="T8" y="T9"/>
                </a:cxn>
                <a:cxn ang="0">
                  <a:pos x="T10" y="T11"/>
                </a:cxn>
                <a:cxn ang="0">
                  <a:pos x="T12" y="T13"/>
                </a:cxn>
              </a:cxnLst>
              <a:rect l="0" t="0" r="r" b="b"/>
              <a:pathLst>
                <a:path w="119" h="55">
                  <a:moveTo>
                    <a:pt x="0" y="55"/>
                  </a:moveTo>
                  <a:cubicBezTo>
                    <a:pt x="119" y="35"/>
                    <a:pt x="119" y="35"/>
                    <a:pt x="119" y="35"/>
                  </a:cubicBezTo>
                  <a:cubicBezTo>
                    <a:pt x="119" y="35"/>
                    <a:pt x="105" y="35"/>
                    <a:pt x="85" y="26"/>
                  </a:cubicBezTo>
                  <a:cubicBezTo>
                    <a:pt x="75" y="21"/>
                    <a:pt x="63" y="13"/>
                    <a:pt x="50" y="0"/>
                  </a:cubicBezTo>
                  <a:cubicBezTo>
                    <a:pt x="24" y="4"/>
                    <a:pt x="24" y="4"/>
                    <a:pt x="24" y="4"/>
                  </a:cubicBezTo>
                  <a:cubicBezTo>
                    <a:pt x="17" y="5"/>
                    <a:pt x="17" y="5"/>
                    <a:pt x="17" y="5"/>
                  </a:cubicBezTo>
                  <a:lnTo>
                    <a:pt x="0" y="55"/>
                  </a:lnTo>
                  <a:close/>
                </a:path>
              </a:pathLst>
            </a:custGeom>
            <a:solidFill>
              <a:srgbClr val="CBD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5" name="Freeform 63">
              <a:extLst>
                <a:ext uri="{FF2B5EF4-FFF2-40B4-BE49-F238E27FC236}">
                  <a16:creationId xmlns:a16="http://schemas.microsoft.com/office/drawing/2014/main" id="{4FE64FBF-A774-4770-AB4C-B5DC1C25108C}"/>
                </a:ext>
              </a:extLst>
            </p:cNvPr>
            <p:cNvSpPr>
              <a:spLocks/>
            </p:cNvSpPr>
            <p:nvPr/>
          </p:nvSpPr>
          <p:spPr bwMode="auto">
            <a:xfrm>
              <a:off x="6891721" y="5916933"/>
              <a:ext cx="382770" cy="1023174"/>
            </a:xfrm>
            <a:custGeom>
              <a:avLst/>
              <a:gdLst>
                <a:gd name="T0" fmla="*/ 0 w 110"/>
                <a:gd name="T1" fmla="*/ 294 h 294"/>
                <a:gd name="T2" fmla="*/ 43 w 110"/>
                <a:gd name="T3" fmla="*/ 224 h 294"/>
                <a:gd name="T4" fmla="*/ 110 w 110"/>
                <a:gd name="T5" fmla="*/ 0 h 294"/>
                <a:gd name="T6" fmla="*/ 110 w 110"/>
                <a:gd name="T7" fmla="*/ 0 h 294"/>
                <a:gd name="T8" fmla="*/ 93 w 110"/>
                <a:gd name="T9" fmla="*/ 27 h 294"/>
                <a:gd name="T10" fmla="*/ 19 w 110"/>
                <a:gd name="T11" fmla="*/ 207 h 294"/>
                <a:gd name="T12" fmla="*/ 0 w 110"/>
                <a:gd name="T13" fmla="*/ 294 h 294"/>
              </a:gdLst>
              <a:ahLst/>
              <a:cxnLst>
                <a:cxn ang="0">
                  <a:pos x="T0" y="T1"/>
                </a:cxn>
                <a:cxn ang="0">
                  <a:pos x="T2" y="T3"/>
                </a:cxn>
                <a:cxn ang="0">
                  <a:pos x="T4" y="T5"/>
                </a:cxn>
                <a:cxn ang="0">
                  <a:pos x="T6" y="T7"/>
                </a:cxn>
                <a:cxn ang="0">
                  <a:pos x="T8" y="T9"/>
                </a:cxn>
                <a:cxn ang="0">
                  <a:pos x="T10" y="T11"/>
                </a:cxn>
                <a:cxn ang="0">
                  <a:pos x="T12" y="T13"/>
                </a:cxn>
              </a:cxnLst>
              <a:rect l="0" t="0" r="r" b="b"/>
              <a:pathLst>
                <a:path w="110" h="294">
                  <a:moveTo>
                    <a:pt x="0" y="294"/>
                  </a:moveTo>
                  <a:cubicBezTo>
                    <a:pt x="43" y="224"/>
                    <a:pt x="43" y="224"/>
                    <a:pt x="43" y="224"/>
                  </a:cubicBezTo>
                  <a:cubicBezTo>
                    <a:pt x="110" y="0"/>
                    <a:pt x="110" y="0"/>
                    <a:pt x="110" y="0"/>
                  </a:cubicBezTo>
                  <a:cubicBezTo>
                    <a:pt x="110" y="0"/>
                    <a:pt x="110" y="0"/>
                    <a:pt x="110" y="0"/>
                  </a:cubicBezTo>
                  <a:cubicBezTo>
                    <a:pt x="102" y="11"/>
                    <a:pt x="96" y="21"/>
                    <a:pt x="93" y="27"/>
                  </a:cubicBezTo>
                  <a:cubicBezTo>
                    <a:pt x="79" y="51"/>
                    <a:pt x="54" y="130"/>
                    <a:pt x="19" y="207"/>
                  </a:cubicBezTo>
                  <a:cubicBezTo>
                    <a:pt x="6" y="237"/>
                    <a:pt x="0" y="266"/>
                    <a:pt x="0" y="294"/>
                  </a:cubicBezTo>
                  <a:close/>
                </a:path>
              </a:pathLst>
            </a:custGeom>
            <a:solidFill>
              <a:srgbClr val="E6E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6" name="Freeform 64">
              <a:extLst>
                <a:ext uri="{FF2B5EF4-FFF2-40B4-BE49-F238E27FC236}">
                  <a16:creationId xmlns:a16="http://schemas.microsoft.com/office/drawing/2014/main" id="{7001F2C0-1F7C-4A97-842A-3F78F17027B4}"/>
                </a:ext>
              </a:extLst>
            </p:cNvPr>
            <p:cNvSpPr>
              <a:spLocks/>
            </p:cNvSpPr>
            <p:nvPr/>
          </p:nvSpPr>
          <p:spPr bwMode="auto">
            <a:xfrm>
              <a:off x="6895400" y="7010037"/>
              <a:ext cx="754500" cy="195067"/>
            </a:xfrm>
            <a:custGeom>
              <a:avLst/>
              <a:gdLst>
                <a:gd name="T0" fmla="*/ 0 w 217"/>
                <a:gd name="T1" fmla="*/ 0 h 56"/>
                <a:gd name="T2" fmla="*/ 2 w 217"/>
                <a:gd name="T3" fmla="*/ 18 h 56"/>
                <a:gd name="T4" fmla="*/ 217 w 217"/>
                <a:gd name="T5" fmla="*/ 36 h 56"/>
                <a:gd name="T6" fmla="*/ 216 w 217"/>
                <a:gd name="T7" fmla="*/ 18 h 56"/>
                <a:gd name="T8" fmla="*/ 216 w 217"/>
                <a:gd name="T9" fmla="*/ 18 h 56"/>
                <a:gd name="T10" fmla="*/ 0 w 217"/>
                <a:gd name="T11" fmla="*/ 0 h 56"/>
              </a:gdLst>
              <a:ahLst/>
              <a:cxnLst>
                <a:cxn ang="0">
                  <a:pos x="T0" y="T1"/>
                </a:cxn>
                <a:cxn ang="0">
                  <a:pos x="T2" y="T3"/>
                </a:cxn>
                <a:cxn ang="0">
                  <a:pos x="T4" y="T5"/>
                </a:cxn>
                <a:cxn ang="0">
                  <a:pos x="T6" y="T7"/>
                </a:cxn>
                <a:cxn ang="0">
                  <a:pos x="T8" y="T9"/>
                </a:cxn>
                <a:cxn ang="0">
                  <a:pos x="T10" y="T11"/>
                </a:cxn>
              </a:cxnLst>
              <a:rect l="0" t="0" r="r" b="b"/>
              <a:pathLst>
                <a:path w="217" h="56">
                  <a:moveTo>
                    <a:pt x="0" y="0"/>
                  </a:moveTo>
                  <a:cubicBezTo>
                    <a:pt x="1" y="6"/>
                    <a:pt x="1" y="12"/>
                    <a:pt x="2" y="18"/>
                  </a:cubicBezTo>
                  <a:cubicBezTo>
                    <a:pt x="71" y="56"/>
                    <a:pt x="217" y="36"/>
                    <a:pt x="217" y="36"/>
                  </a:cubicBezTo>
                  <a:cubicBezTo>
                    <a:pt x="217" y="30"/>
                    <a:pt x="216" y="24"/>
                    <a:pt x="216" y="18"/>
                  </a:cubicBezTo>
                  <a:cubicBezTo>
                    <a:pt x="216" y="18"/>
                    <a:pt x="216" y="18"/>
                    <a:pt x="216" y="18"/>
                  </a:cubicBezTo>
                  <a:cubicBezTo>
                    <a:pt x="216" y="18"/>
                    <a:pt x="65" y="30"/>
                    <a:pt x="0" y="0"/>
                  </a:cubicBezTo>
                  <a:close/>
                </a:path>
              </a:pathLst>
            </a:custGeom>
            <a:solidFill>
              <a:srgbClr val="5B21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7" name="Freeform 65">
              <a:extLst>
                <a:ext uri="{FF2B5EF4-FFF2-40B4-BE49-F238E27FC236}">
                  <a16:creationId xmlns:a16="http://schemas.microsoft.com/office/drawing/2014/main" id="{59D49E5C-D51D-40F2-92A2-85CB237494E5}"/>
                </a:ext>
              </a:extLst>
            </p:cNvPr>
            <p:cNvSpPr>
              <a:spLocks/>
            </p:cNvSpPr>
            <p:nvPr/>
          </p:nvSpPr>
          <p:spPr bwMode="auto">
            <a:xfrm>
              <a:off x="7285531" y="7238226"/>
              <a:ext cx="139858" cy="125136"/>
            </a:xfrm>
            <a:custGeom>
              <a:avLst/>
              <a:gdLst>
                <a:gd name="T0" fmla="*/ 0 w 40"/>
                <a:gd name="T1" fmla="*/ 17 h 36"/>
                <a:gd name="T2" fmla="*/ 1 w 40"/>
                <a:gd name="T3" fmla="*/ 18 h 36"/>
                <a:gd name="T4" fmla="*/ 19 w 40"/>
                <a:gd name="T5" fmla="*/ 36 h 36"/>
                <a:gd name="T6" fmla="*/ 24 w 40"/>
                <a:gd name="T7" fmla="*/ 31 h 36"/>
                <a:gd name="T8" fmla="*/ 40 w 40"/>
                <a:gd name="T9" fmla="*/ 13 h 36"/>
                <a:gd name="T10" fmla="*/ 18 w 40"/>
                <a:gd name="T11" fmla="*/ 0 h 36"/>
                <a:gd name="T12" fmla="*/ 4 w 40"/>
                <a:gd name="T13" fmla="*/ 13 h 36"/>
                <a:gd name="T14" fmla="*/ 0 w 40"/>
                <a:gd name="T15" fmla="*/ 17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6">
                  <a:moveTo>
                    <a:pt x="0" y="17"/>
                  </a:moveTo>
                  <a:cubicBezTo>
                    <a:pt x="0" y="18"/>
                    <a:pt x="0" y="18"/>
                    <a:pt x="1" y="18"/>
                  </a:cubicBezTo>
                  <a:cubicBezTo>
                    <a:pt x="6" y="24"/>
                    <a:pt x="12" y="30"/>
                    <a:pt x="19" y="36"/>
                  </a:cubicBezTo>
                  <a:cubicBezTo>
                    <a:pt x="24" y="31"/>
                    <a:pt x="24" y="31"/>
                    <a:pt x="24" y="31"/>
                  </a:cubicBezTo>
                  <a:cubicBezTo>
                    <a:pt x="40" y="13"/>
                    <a:pt x="40" y="13"/>
                    <a:pt x="40" y="13"/>
                  </a:cubicBezTo>
                  <a:cubicBezTo>
                    <a:pt x="18" y="0"/>
                    <a:pt x="18" y="0"/>
                    <a:pt x="18" y="0"/>
                  </a:cubicBezTo>
                  <a:cubicBezTo>
                    <a:pt x="4" y="13"/>
                    <a:pt x="4" y="13"/>
                    <a:pt x="4" y="13"/>
                  </a:cubicBezTo>
                  <a:lnTo>
                    <a:pt x="0" y="17"/>
                  </a:lnTo>
                  <a:close/>
                </a:path>
              </a:pathLst>
            </a:custGeom>
            <a:solidFill>
              <a:srgbClr val="FFAB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8" name="Freeform 66">
              <a:extLst>
                <a:ext uri="{FF2B5EF4-FFF2-40B4-BE49-F238E27FC236}">
                  <a16:creationId xmlns:a16="http://schemas.microsoft.com/office/drawing/2014/main" id="{933E1A31-0037-4C4C-BD04-82A48DDB73CF}"/>
                </a:ext>
              </a:extLst>
            </p:cNvPr>
            <p:cNvSpPr>
              <a:spLocks/>
            </p:cNvSpPr>
            <p:nvPr/>
          </p:nvSpPr>
          <p:spPr bwMode="auto">
            <a:xfrm>
              <a:off x="7197200" y="7216144"/>
              <a:ext cx="246593" cy="217150"/>
            </a:xfrm>
            <a:custGeom>
              <a:avLst/>
              <a:gdLst>
                <a:gd name="T0" fmla="*/ 0 w 71"/>
                <a:gd name="T1" fmla="*/ 0 h 63"/>
                <a:gd name="T2" fmla="*/ 20 w 71"/>
                <a:gd name="T3" fmla="*/ 27 h 63"/>
                <a:gd name="T4" fmla="*/ 21 w 71"/>
                <a:gd name="T5" fmla="*/ 29 h 63"/>
                <a:gd name="T6" fmla="*/ 43 w 71"/>
                <a:gd name="T7" fmla="*/ 50 h 63"/>
                <a:gd name="T8" fmla="*/ 45 w 71"/>
                <a:gd name="T9" fmla="*/ 51 h 63"/>
                <a:gd name="T10" fmla="*/ 71 w 71"/>
                <a:gd name="T11" fmla="*/ 63 h 63"/>
                <a:gd name="T12" fmla="*/ 50 w 71"/>
                <a:gd name="T13" fmla="*/ 44 h 63"/>
                <a:gd name="T14" fmla="*/ 49 w 71"/>
                <a:gd name="T15" fmla="*/ 44 h 63"/>
                <a:gd name="T16" fmla="*/ 25 w 71"/>
                <a:gd name="T17" fmla="*/ 23 h 63"/>
                <a:gd name="T18" fmla="*/ 25 w 71"/>
                <a:gd name="T19" fmla="*/ 22 h 63"/>
                <a:gd name="T20" fmla="*/ 0 w 71"/>
                <a:gd name="T2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63">
                  <a:moveTo>
                    <a:pt x="0" y="0"/>
                  </a:moveTo>
                  <a:cubicBezTo>
                    <a:pt x="1" y="1"/>
                    <a:pt x="8" y="14"/>
                    <a:pt x="20" y="27"/>
                  </a:cubicBezTo>
                  <a:cubicBezTo>
                    <a:pt x="20" y="28"/>
                    <a:pt x="21" y="28"/>
                    <a:pt x="21" y="29"/>
                  </a:cubicBezTo>
                  <a:cubicBezTo>
                    <a:pt x="27" y="36"/>
                    <a:pt x="35" y="43"/>
                    <a:pt x="43" y="50"/>
                  </a:cubicBezTo>
                  <a:cubicBezTo>
                    <a:pt x="44" y="50"/>
                    <a:pt x="45" y="51"/>
                    <a:pt x="45" y="51"/>
                  </a:cubicBezTo>
                  <a:cubicBezTo>
                    <a:pt x="53" y="57"/>
                    <a:pt x="62" y="61"/>
                    <a:pt x="71" y="63"/>
                  </a:cubicBezTo>
                  <a:cubicBezTo>
                    <a:pt x="50" y="44"/>
                    <a:pt x="50" y="44"/>
                    <a:pt x="50" y="44"/>
                  </a:cubicBezTo>
                  <a:cubicBezTo>
                    <a:pt x="49" y="44"/>
                    <a:pt x="49" y="44"/>
                    <a:pt x="49" y="44"/>
                  </a:cubicBezTo>
                  <a:cubicBezTo>
                    <a:pt x="25" y="23"/>
                    <a:pt x="25" y="23"/>
                    <a:pt x="25" y="23"/>
                  </a:cubicBezTo>
                  <a:cubicBezTo>
                    <a:pt x="25" y="22"/>
                    <a:pt x="25" y="22"/>
                    <a:pt x="25" y="22"/>
                  </a:cubicBezTo>
                  <a:lnTo>
                    <a:pt x="0" y="0"/>
                  </a:lnTo>
                  <a:close/>
                </a:path>
              </a:pathLst>
            </a:custGeom>
            <a:solidFill>
              <a:srgbClr val="5B21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69" name="Freeform 67">
              <a:extLst>
                <a:ext uri="{FF2B5EF4-FFF2-40B4-BE49-F238E27FC236}">
                  <a16:creationId xmlns:a16="http://schemas.microsoft.com/office/drawing/2014/main" id="{321AA68E-3107-473D-BEC0-FCF2052736EC}"/>
                </a:ext>
              </a:extLst>
            </p:cNvPr>
            <p:cNvSpPr>
              <a:spLocks/>
            </p:cNvSpPr>
            <p:nvPr/>
          </p:nvSpPr>
          <p:spPr bwMode="auto">
            <a:xfrm>
              <a:off x="7436432" y="5320695"/>
              <a:ext cx="99374" cy="154580"/>
            </a:xfrm>
            <a:custGeom>
              <a:avLst/>
              <a:gdLst>
                <a:gd name="T0" fmla="*/ 23 w 29"/>
                <a:gd name="T1" fmla="*/ 30 h 44"/>
                <a:gd name="T2" fmla="*/ 2 w 29"/>
                <a:gd name="T3" fmla="*/ 37 h 44"/>
                <a:gd name="T4" fmla="*/ 1 w 29"/>
                <a:gd name="T5" fmla="*/ 14 h 44"/>
                <a:gd name="T6" fmla="*/ 22 w 29"/>
                <a:gd name="T7" fmla="*/ 8 h 44"/>
                <a:gd name="T8" fmla="*/ 23 w 29"/>
                <a:gd name="T9" fmla="*/ 30 h 44"/>
              </a:gdLst>
              <a:ahLst/>
              <a:cxnLst>
                <a:cxn ang="0">
                  <a:pos x="T0" y="T1"/>
                </a:cxn>
                <a:cxn ang="0">
                  <a:pos x="T2" y="T3"/>
                </a:cxn>
                <a:cxn ang="0">
                  <a:pos x="T4" y="T5"/>
                </a:cxn>
                <a:cxn ang="0">
                  <a:pos x="T6" y="T7"/>
                </a:cxn>
                <a:cxn ang="0">
                  <a:pos x="T8" y="T9"/>
                </a:cxn>
              </a:cxnLst>
              <a:rect l="0" t="0" r="r" b="b"/>
              <a:pathLst>
                <a:path w="29" h="44">
                  <a:moveTo>
                    <a:pt x="23" y="30"/>
                  </a:moveTo>
                  <a:cubicBezTo>
                    <a:pt x="17" y="38"/>
                    <a:pt x="4" y="44"/>
                    <a:pt x="2" y="37"/>
                  </a:cubicBezTo>
                  <a:cubicBezTo>
                    <a:pt x="0" y="32"/>
                    <a:pt x="0" y="23"/>
                    <a:pt x="1" y="14"/>
                  </a:cubicBezTo>
                  <a:cubicBezTo>
                    <a:pt x="3" y="0"/>
                    <a:pt x="16" y="0"/>
                    <a:pt x="22" y="8"/>
                  </a:cubicBezTo>
                  <a:cubicBezTo>
                    <a:pt x="27" y="13"/>
                    <a:pt x="29" y="22"/>
                    <a:pt x="23" y="30"/>
                  </a:cubicBezTo>
                  <a:close/>
                </a:path>
              </a:pathLst>
            </a:custGeom>
            <a:solidFill>
              <a:srgbClr val="F7BF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0" name="Freeform 68">
              <a:extLst>
                <a:ext uri="{FF2B5EF4-FFF2-40B4-BE49-F238E27FC236}">
                  <a16:creationId xmlns:a16="http://schemas.microsoft.com/office/drawing/2014/main" id="{E7C60434-3E57-4F19-B8C9-4E8EC017BF77}"/>
                </a:ext>
              </a:extLst>
            </p:cNvPr>
            <p:cNvSpPr>
              <a:spLocks/>
            </p:cNvSpPr>
            <p:nvPr/>
          </p:nvSpPr>
          <p:spPr bwMode="auto">
            <a:xfrm>
              <a:off x="4628224" y="5029938"/>
              <a:ext cx="574155" cy="651446"/>
            </a:xfrm>
            <a:custGeom>
              <a:avLst/>
              <a:gdLst>
                <a:gd name="T0" fmla="*/ 64 w 165"/>
                <a:gd name="T1" fmla="*/ 142 h 187"/>
                <a:gd name="T2" fmla="*/ 118 w 165"/>
                <a:gd name="T3" fmla="*/ 178 h 187"/>
                <a:gd name="T4" fmla="*/ 145 w 165"/>
                <a:gd name="T5" fmla="*/ 168 h 187"/>
                <a:gd name="T6" fmla="*/ 152 w 165"/>
                <a:gd name="T7" fmla="*/ 142 h 187"/>
                <a:gd name="T8" fmla="*/ 165 w 165"/>
                <a:gd name="T9" fmla="*/ 137 h 187"/>
                <a:gd name="T10" fmla="*/ 148 w 165"/>
                <a:gd name="T11" fmla="*/ 102 h 187"/>
                <a:gd name="T12" fmla="*/ 138 w 165"/>
                <a:gd name="T13" fmla="*/ 38 h 187"/>
                <a:gd name="T14" fmla="*/ 70 w 165"/>
                <a:gd name="T15" fmla="*/ 2 h 187"/>
                <a:gd name="T16" fmla="*/ 16 w 165"/>
                <a:gd name="T17" fmla="*/ 28 h 187"/>
                <a:gd name="T18" fmla="*/ 0 w 165"/>
                <a:gd name="T19" fmla="*/ 79 h 187"/>
                <a:gd name="T20" fmla="*/ 41 w 165"/>
                <a:gd name="T21" fmla="*/ 136 h 187"/>
                <a:gd name="T22" fmla="*/ 64 w 165"/>
                <a:gd name="T23" fmla="*/ 14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187">
                  <a:moveTo>
                    <a:pt x="64" y="142"/>
                  </a:moveTo>
                  <a:cubicBezTo>
                    <a:pt x="64" y="142"/>
                    <a:pt x="102" y="169"/>
                    <a:pt x="118" y="178"/>
                  </a:cubicBezTo>
                  <a:cubicBezTo>
                    <a:pt x="134" y="187"/>
                    <a:pt x="141" y="182"/>
                    <a:pt x="145" y="168"/>
                  </a:cubicBezTo>
                  <a:cubicBezTo>
                    <a:pt x="149" y="154"/>
                    <a:pt x="152" y="142"/>
                    <a:pt x="152" y="142"/>
                  </a:cubicBezTo>
                  <a:cubicBezTo>
                    <a:pt x="165" y="137"/>
                    <a:pt x="165" y="137"/>
                    <a:pt x="165" y="137"/>
                  </a:cubicBezTo>
                  <a:cubicBezTo>
                    <a:pt x="165" y="137"/>
                    <a:pt x="149" y="116"/>
                    <a:pt x="148" y="102"/>
                  </a:cubicBezTo>
                  <a:cubicBezTo>
                    <a:pt x="146" y="88"/>
                    <a:pt x="154" y="56"/>
                    <a:pt x="138" y="38"/>
                  </a:cubicBezTo>
                  <a:cubicBezTo>
                    <a:pt x="122" y="20"/>
                    <a:pt x="92" y="0"/>
                    <a:pt x="70" y="2"/>
                  </a:cubicBezTo>
                  <a:cubicBezTo>
                    <a:pt x="48" y="5"/>
                    <a:pt x="21" y="16"/>
                    <a:pt x="16" y="28"/>
                  </a:cubicBezTo>
                  <a:cubicBezTo>
                    <a:pt x="10" y="40"/>
                    <a:pt x="1" y="59"/>
                    <a:pt x="0" y="79"/>
                  </a:cubicBezTo>
                  <a:cubicBezTo>
                    <a:pt x="0" y="99"/>
                    <a:pt x="18" y="131"/>
                    <a:pt x="41" y="136"/>
                  </a:cubicBezTo>
                  <a:cubicBezTo>
                    <a:pt x="64" y="142"/>
                    <a:pt x="64" y="142"/>
                    <a:pt x="64" y="142"/>
                  </a:cubicBezTo>
                  <a:close/>
                </a:path>
              </a:pathLst>
            </a:custGeom>
            <a:solidFill>
              <a:srgbClr val="FFAB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1" name="Freeform 69">
              <a:extLst>
                <a:ext uri="{FF2B5EF4-FFF2-40B4-BE49-F238E27FC236}">
                  <a16:creationId xmlns:a16="http://schemas.microsoft.com/office/drawing/2014/main" id="{5537CCCE-C52F-4C96-8091-582D115782AB}"/>
                </a:ext>
              </a:extLst>
            </p:cNvPr>
            <p:cNvSpPr>
              <a:spLocks/>
            </p:cNvSpPr>
            <p:nvPr/>
          </p:nvSpPr>
          <p:spPr bwMode="auto">
            <a:xfrm>
              <a:off x="4558296" y="4974729"/>
              <a:ext cx="776583" cy="552072"/>
            </a:xfrm>
            <a:custGeom>
              <a:avLst/>
              <a:gdLst>
                <a:gd name="T0" fmla="*/ 12 w 223"/>
                <a:gd name="T1" fmla="*/ 57 h 159"/>
                <a:gd name="T2" fmla="*/ 13 w 223"/>
                <a:gd name="T3" fmla="*/ 48 h 159"/>
                <a:gd name="T4" fmla="*/ 64 w 223"/>
                <a:gd name="T5" fmla="*/ 1 h 159"/>
                <a:gd name="T6" fmla="*/ 196 w 223"/>
                <a:gd name="T7" fmla="*/ 6 h 159"/>
                <a:gd name="T8" fmla="*/ 213 w 223"/>
                <a:gd name="T9" fmla="*/ 40 h 159"/>
                <a:gd name="T10" fmla="*/ 159 w 223"/>
                <a:gd name="T11" fmla="*/ 67 h 159"/>
                <a:gd name="T12" fmla="*/ 153 w 223"/>
                <a:gd name="T13" fmla="*/ 67 h 159"/>
                <a:gd name="T14" fmla="*/ 121 w 223"/>
                <a:gd name="T15" fmla="*/ 100 h 159"/>
                <a:gd name="T16" fmla="*/ 112 w 223"/>
                <a:gd name="T17" fmla="*/ 128 h 159"/>
                <a:gd name="T18" fmla="*/ 98 w 223"/>
                <a:gd name="T19" fmla="*/ 95 h 159"/>
                <a:gd name="T20" fmla="*/ 73 w 223"/>
                <a:gd name="T21" fmla="*/ 121 h 159"/>
                <a:gd name="T22" fmla="*/ 17 w 223"/>
                <a:gd name="T23" fmla="*/ 122 h 159"/>
                <a:gd name="T24" fmla="*/ 12 w 223"/>
                <a:gd name="T25" fmla="*/ 5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3" h="159">
                  <a:moveTo>
                    <a:pt x="12" y="57"/>
                  </a:moveTo>
                  <a:cubicBezTo>
                    <a:pt x="13" y="48"/>
                    <a:pt x="13" y="48"/>
                    <a:pt x="13" y="48"/>
                  </a:cubicBezTo>
                  <a:cubicBezTo>
                    <a:pt x="14" y="21"/>
                    <a:pt x="37" y="0"/>
                    <a:pt x="64" y="1"/>
                  </a:cubicBezTo>
                  <a:cubicBezTo>
                    <a:pt x="196" y="6"/>
                    <a:pt x="196" y="6"/>
                    <a:pt x="196" y="6"/>
                  </a:cubicBezTo>
                  <a:cubicBezTo>
                    <a:pt x="213" y="7"/>
                    <a:pt x="223" y="26"/>
                    <a:pt x="213" y="40"/>
                  </a:cubicBezTo>
                  <a:cubicBezTo>
                    <a:pt x="201" y="57"/>
                    <a:pt x="181" y="68"/>
                    <a:pt x="159" y="67"/>
                  </a:cubicBezTo>
                  <a:cubicBezTo>
                    <a:pt x="153" y="67"/>
                    <a:pt x="153" y="67"/>
                    <a:pt x="153" y="67"/>
                  </a:cubicBezTo>
                  <a:cubicBezTo>
                    <a:pt x="144" y="73"/>
                    <a:pt x="126" y="88"/>
                    <a:pt x="121" y="100"/>
                  </a:cubicBezTo>
                  <a:cubicBezTo>
                    <a:pt x="114" y="116"/>
                    <a:pt x="112" y="128"/>
                    <a:pt x="112" y="128"/>
                  </a:cubicBezTo>
                  <a:cubicBezTo>
                    <a:pt x="112" y="128"/>
                    <a:pt x="105" y="95"/>
                    <a:pt x="98" y="95"/>
                  </a:cubicBezTo>
                  <a:cubicBezTo>
                    <a:pt x="92" y="95"/>
                    <a:pt x="73" y="110"/>
                    <a:pt x="73" y="121"/>
                  </a:cubicBezTo>
                  <a:cubicBezTo>
                    <a:pt x="73" y="133"/>
                    <a:pt x="44" y="159"/>
                    <a:pt x="17" y="122"/>
                  </a:cubicBezTo>
                  <a:cubicBezTo>
                    <a:pt x="0" y="98"/>
                    <a:pt x="6" y="72"/>
                    <a:pt x="12" y="57"/>
                  </a:cubicBezTo>
                  <a:close/>
                </a:path>
              </a:pathLst>
            </a:custGeom>
            <a:solidFill>
              <a:srgbClr val="3B1D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2" name="Freeform 70">
              <a:extLst>
                <a:ext uri="{FF2B5EF4-FFF2-40B4-BE49-F238E27FC236}">
                  <a16:creationId xmlns:a16="http://schemas.microsoft.com/office/drawing/2014/main" id="{7F35D261-7826-417A-B259-33F4EE8CA995}"/>
                </a:ext>
              </a:extLst>
            </p:cNvPr>
            <p:cNvSpPr>
              <a:spLocks/>
            </p:cNvSpPr>
            <p:nvPr/>
          </p:nvSpPr>
          <p:spPr bwMode="auto">
            <a:xfrm>
              <a:off x="4830651" y="5328056"/>
              <a:ext cx="84652" cy="161941"/>
            </a:xfrm>
            <a:custGeom>
              <a:avLst/>
              <a:gdLst>
                <a:gd name="T0" fmla="*/ 4 w 25"/>
                <a:gd name="T1" fmla="*/ 30 h 46"/>
                <a:gd name="T2" fmla="*/ 21 w 25"/>
                <a:gd name="T3" fmla="*/ 39 h 46"/>
                <a:gd name="T4" fmla="*/ 25 w 25"/>
                <a:gd name="T5" fmla="*/ 17 h 46"/>
                <a:gd name="T6" fmla="*/ 8 w 25"/>
                <a:gd name="T7" fmla="*/ 7 h 46"/>
                <a:gd name="T8" fmla="*/ 4 w 25"/>
                <a:gd name="T9" fmla="*/ 30 h 46"/>
              </a:gdLst>
              <a:ahLst/>
              <a:cxnLst>
                <a:cxn ang="0">
                  <a:pos x="T0" y="T1"/>
                </a:cxn>
                <a:cxn ang="0">
                  <a:pos x="T2" y="T3"/>
                </a:cxn>
                <a:cxn ang="0">
                  <a:pos x="T4" y="T5"/>
                </a:cxn>
                <a:cxn ang="0">
                  <a:pos x="T6" y="T7"/>
                </a:cxn>
                <a:cxn ang="0">
                  <a:pos x="T8" y="T9"/>
                </a:cxn>
              </a:cxnLst>
              <a:rect l="0" t="0" r="r" b="b"/>
              <a:pathLst>
                <a:path w="25" h="46">
                  <a:moveTo>
                    <a:pt x="4" y="30"/>
                  </a:moveTo>
                  <a:cubicBezTo>
                    <a:pt x="8" y="38"/>
                    <a:pt x="18" y="46"/>
                    <a:pt x="21" y="39"/>
                  </a:cubicBezTo>
                  <a:cubicBezTo>
                    <a:pt x="23" y="34"/>
                    <a:pt x="25" y="26"/>
                    <a:pt x="25" y="17"/>
                  </a:cubicBezTo>
                  <a:cubicBezTo>
                    <a:pt x="25" y="3"/>
                    <a:pt x="14" y="0"/>
                    <a:pt x="8" y="7"/>
                  </a:cubicBezTo>
                  <a:cubicBezTo>
                    <a:pt x="3" y="13"/>
                    <a:pt x="0" y="21"/>
                    <a:pt x="4" y="30"/>
                  </a:cubicBezTo>
                  <a:close/>
                </a:path>
              </a:pathLst>
            </a:custGeom>
            <a:solidFill>
              <a:srgbClr val="FCA1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3" name="Freeform 71">
              <a:extLst>
                <a:ext uri="{FF2B5EF4-FFF2-40B4-BE49-F238E27FC236}">
                  <a16:creationId xmlns:a16="http://schemas.microsoft.com/office/drawing/2014/main" id="{DB660AF4-BEFE-4578-B53F-F72D0687E385}"/>
                </a:ext>
              </a:extLst>
            </p:cNvPr>
            <p:cNvSpPr>
              <a:spLocks/>
            </p:cNvSpPr>
            <p:nvPr/>
          </p:nvSpPr>
          <p:spPr bwMode="auto">
            <a:xfrm>
              <a:off x="7094146" y="4934245"/>
              <a:ext cx="702973" cy="504227"/>
            </a:xfrm>
            <a:custGeom>
              <a:avLst/>
              <a:gdLst>
                <a:gd name="T0" fmla="*/ 42 w 202"/>
                <a:gd name="T1" fmla="*/ 10 h 145"/>
                <a:gd name="T2" fmla="*/ 68 w 202"/>
                <a:gd name="T3" fmla="*/ 19 h 145"/>
                <a:gd name="T4" fmla="*/ 98 w 202"/>
                <a:gd name="T5" fmla="*/ 0 h 145"/>
                <a:gd name="T6" fmla="*/ 130 w 202"/>
                <a:gd name="T7" fmla="*/ 21 h 145"/>
                <a:gd name="T8" fmla="*/ 156 w 202"/>
                <a:gd name="T9" fmla="*/ 13 h 145"/>
                <a:gd name="T10" fmla="*/ 202 w 202"/>
                <a:gd name="T11" fmla="*/ 59 h 145"/>
                <a:gd name="T12" fmla="*/ 200 w 202"/>
                <a:gd name="T13" fmla="*/ 72 h 145"/>
                <a:gd name="T14" fmla="*/ 202 w 202"/>
                <a:gd name="T15" fmla="*/ 82 h 145"/>
                <a:gd name="T16" fmla="*/ 194 w 202"/>
                <a:gd name="T17" fmla="*/ 100 h 145"/>
                <a:gd name="T18" fmla="*/ 197 w 202"/>
                <a:gd name="T19" fmla="*/ 113 h 145"/>
                <a:gd name="T20" fmla="*/ 166 w 202"/>
                <a:gd name="T21" fmla="*/ 145 h 145"/>
                <a:gd name="T22" fmla="*/ 136 w 202"/>
                <a:gd name="T23" fmla="*/ 119 h 145"/>
                <a:gd name="T24" fmla="*/ 106 w 202"/>
                <a:gd name="T25" fmla="*/ 108 h 145"/>
                <a:gd name="T26" fmla="*/ 95 w 202"/>
                <a:gd name="T27" fmla="*/ 122 h 145"/>
                <a:gd name="T28" fmla="*/ 89 w 202"/>
                <a:gd name="T29" fmla="*/ 121 h 145"/>
                <a:gd name="T30" fmla="*/ 64 w 202"/>
                <a:gd name="T31" fmla="*/ 88 h 145"/>
                <a:gd name="T32" fmla="*/ 64 w 202"/>
                <a:gd name="T33" fmla="*/ 88 h 145"/>
                <a:gd name="T34" fmla="*/ 42 w 202"/>
                <a:gd name="T35" fmla="*/ 94 h 145"/>
                <a:gd name="T36" fmla="*/ 0 w 202"/>
                <a:gd name="T37" fmla="*/ 52 h 145"/>
                <a:gd name="T38" fmla="*/ 42 w 202"/>
                <a:gd name="T39" fmla="*/ 1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2" h="145">
                  <a:moveTo>
                    <a:pt x="42" y="10"/>
                  </a:moveTo>
                  <a:cubicBezTo>
                    <a:pt x="52" y="10"/>
                    <a:pt x="61" y="13"/>
                    <a:pt x="68" y="19"/>
                  </a:cubicBezTo>
                  <a:cubicBezTo>
                    <a:pt x="73" y="8"/>
                    <a:pt x="85" y="0"/>
                    <a:pt x="98" y="0"/>
                  </a:cubicBezTo>
                  <a:cubicBezTo>
                    <a:pt x="112" y="0"/>
                    <a:pt x="125" y="9"/>
                    <a:pt x="130" y="21"/>
                  </a:cubicBezTo>
                  <a:cubicBezTo>
                    <a:pt x="137" y="16"/>
                    <a:pt x="146" y="13"/>
                    <a:pt x="156" y="13"/>
                  </a:cubicBezTo>
                  <a:cubicBezTo>
                    <a:pt x="181" y="13"/>
                    <a:pt x="202" y="34"/>
                    <a:pt x="202" y="59"/>
                  </a:cubicBezTo>
                  <a:cubicBezTo>
                    <a:pt x="202" y="64"/>
                    <a:pt x="201" y="68"/>
                    <a:pt x="200" y="72"/>
                  </a:cubicBezTo>
                  <a:cubicBezTo>
                    <a:pt x="201" y="75"/>
                    <a:pt x="202" y="78"/>
                    <a:pt x="202" y="82"/>
                  </a:cubicBezTo>
                  <a:cubicBezTo>
                    <a:pt x="202" y="89"/>
                    <a:pt x="199" y="95"/>
                    <a:pt x="194" y="100"/>
                  </a:cubicBezTo>
                  <a:cubicBezTo>
                    <a:pt x="196" y="104"/>
                    <a:pt x="197" y="109"/>
                    <a:pt x="197" y="113"/>
                  </a:cubicBezTo>
                  <a:cubicBezTo>
                    <a:pt x="197" y="131"/>
                    <a:pt x="184" y="145"/>
                    <a:pt x="166" y="145"/>
                  </a:cubicBezTo>
                  <a:cubicBezTo>
                    <a:pt x="151" y="145"/>
                    <a:pt x="138" y="134"/>
                    <a:pt x="136" y="119"/>
                  </a:cubicBezTo>
                  <a:cubicBezTo>
                    <a:pt x="129" y="114"/>
                    <a:pt x="115" y="104"/>
                    <a:pt x="106" y="108"/>
                  </a:cubicBezTo>
                  <a:cubicBezTo>
                    <a:pt x="100" y="111"/>
                    <a:pt x="96" y="116"/>
                    <a:pt x="95" y="122"/>
                  </a:cubicBezTo>
                  <a:cubicBezTo>
                    <a:pt x="94" y="124"/>
                    <a:pt x="90" y="124"/>
                    <a:pt x="89" y="121"/>
                  </a:cubicBezTo>
                  <a:cubicBezTo>
                    <a:pt x="86" y="109"/>
                    <a:pt x="78" y="92"/>
                    <a:pt x="64" y="88"/>
                  </a:cubicBezTo>
                  <a:cubicBezTo>
                    <a:pt x="64" y="88"/>
                    <a:pt x="64" y="88"/>
                    <a:pt x="64" y="88"/>
                  </a:cubicBezTo>
                  <a:cubicBezTo>
                    <a:pt x="57" y="92"/>
                    <a:pt x="50" y="94"/>
                    <a:pt x="42" y="94"/>
                  </a:cubicBezTo>
                  <a:cubicBezTo>
                    <a:pt x="19" y="94"/>
                    <a:pt x="0" y="75"/>
                    <a:pt x="0" y="52"/>
                  </a:cubicBezTo>
                  <a:cubicBezTo>
                    <a:pt x="0" y="29"/>
                    <a:pt x="19" y="10"/>
                    <a:pt x="42" y="10"/>
                  </a:cubicBezTo>
                  <a:close/>
                </a:path>
              </a:pathLst>
            </a:custGeom>
            <a:solidFill>
              <a:srgbClr val="E549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4" name="Freeform 72">
              <a:extLst>
                <a:ext uri="{FF2B5EF4-FFF2-40B4-BE49-F238E27FC236}">
                  <a16:creationId xmlns:a16="http://schemas.microsoft.com/office/drawing/2014/main" id="{552E280B-5C3B-406A-A681-619BE3753203}"/>
                </a:ext>
              </a:extLst>
            </p:cNvPr>
            <p:cNvSpPr>
              <a:spLocks/>
            </p:cNvSpPr>
            <p:nvPr/>
          </p:nvSpPr>
          <p:spPr bwMode="auto">
            <a:xfrm>
              <a:off x="7211922" y="5357499"/>
              <a:ext cx="228190" cy="305481"/>
            </a:xfrm>
            <a:custGeom>
              <a:avLst/>
              <a:gdLst>
                <a:gd name="T0" fmla="*/ 0 w 65"/>
                <a:gd name="T1" fmla="*/ 50 h 88"/>
                <a:gd name="T2" fmla="*/ 6 w 65"/>
                <a:gd name="T3" fmla="*/ 59 h 88"/>
                <a:gd name="T4" fmla="*/ 8 w 65"/>
                <a:gd name="T5" fmla="*/ 69 h 88"/>
                <a:gd name="T6" fmla="*/ 8 w 65"/>
                <a:gd name="T7" fmla="*/ 69 h 88"/>
                <a:gd name="T8" fmla="*/ 22 w 65"/>
                <a:gd name="T9" fmla="*/ 87 h 88"/>
                <a:gd name="T10" fmla="*/ 60 w 65"/>
                <a:gd name="T11" fmla="*/ 68 h 88"/>
                <a:gd name="T12" fmla="*/ 61 w 65"/>
                <a:gd name="T13" fmla="*/ 1 h 88"/>
                <a:gd name="T14" fmla="*/ 55 w 65"/>
                <a:gd name="T15" fmla="*/ 0 h 88"/>
                <a:gd name="T16" fmla="*/ 39 w 65"/>
                <a:gd name="T17" fmla="*/ 44 h 88"/>
                <a:gd name="T18" fmla="*/ 0 w 65"/>
                <a:gd name="T19" fmla="*/ 5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88">
                  <a:moveTo>
                    <a:pt x="0" y="50"/>
                  </a:moveTo>
                  <a:cubicBezTo>
                    <a:pt x="2" y="52"/>
                    <a:pt x="4" y="55"/>
                    <a:pt x="6" y="59"/>
                  </a:cubicBezTo>
                  <a:cubicBezTo>
                    <a:pt x="7" y="62"/>
                    <a:pt x="8" y="65"/>
                    <a:pt x="8" y="69"/>
                  </a:cubicBezTo>
                  <a:cubicBezTo>
                    <a:pt x="8" y="69"/>
                    <a:pt x="8" y="69"/>
                    <a:pt x="8" y="69"/>
                  </a:cubicBezTo>
                  <a:cubicBezTo>
                    <a:pt x="9" y="86"/>
                    <a:pt x="14" y="85"/>
                    <a:pt x="22" y="87"/>
                  </a:cubicBezTo>
                  <a:cubicBezTo>
                    <a:pt x="28" y="88"/>
                    <a:pt x="43" y="78"/>
                    <a:pt x="60" y="68"/>
                  </a:cubicBezTo>
                  <a:cubicBezTo>
                    <a:pt x="65" y="58"/>
                    <a:pt x="61" y="1"/>
                    <a:pt x="61" y="1"/>
                  </a:cubicBezTo>
                  <a:cubicBezTo>
                    <a:pt x="55" y="0"/>
                    <a:pt x="55" y="0"/>
                    <a:pt x="55" y="0"/>
                  </a:cubicBezTo>
                  <a:cubicBezTo>
                    <a:pt x="55" y="11"/>
                    <a:pt x="40" y="44"/>
                    <a:pt x="39" y="44"/>
                  </a:cubicBezTo>
                  <a:cubicBezTo>
                    <a:pt x="39" y="44"/>
                    <a:pt x="17" y="43"/>
                    <a:pt x="0" y="50"/>
                  </a:cubicBezTo>
                  <a:close/>
                </a:path>
              </a:pathLst>
            </a:custGeom>
            <a:solidFill>
              <a:srgbClr val="E549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5" name="Freeform 73">
              <a:extLst>
                <a:ext uri="{FF2B5EF4-FFF2-40B4-BE49-F238E27FC236}">
                  <a16:creationId xmlns:a16="http://schemas.microsoft.com/office/drawing/2014/main" id="{8313B0EE-341B-4497-8DBD-E458D888F4CD}"/>
                </a:ext>
              </a:extLst>
            </p:cNvPr>
            <p:cNvSpPr>
              <a:spLocks/>
            </p:cNvSpPr>
            <p:nvPr/>
          </p:nvSpPr>
          <p:spPr bwMode="auto">
            <a:xfrm>
              <a:off x="7234004" y="5556245"/>
              <a:ext cx="44166" cy="40486"/>
            </a:xfrm>
            <a:custGeom>
              <a:avLst/>
              <a:gdLst>
                <a:gd name="T0" fmla="*/ 0 w 13"/>
                <a:gd name="T1" fmla="*/ 2 h 12"/>
                <a:gd name="T2" fmla="*/ 2 w 13"/>
                <a:gd name="T3" fmla="*/ 12 h 12"/>
                <a:gd name="T4" fmla="*/ 9 w 13"/>
                <a:gd name="T5" fmla="*/ 8 h 12"/>
                <a:gd name="T6" fmla="*/ 6 w 13"/>
                <a:gd name="T7" fmla="*/ 1 h 12"/>
                <a:gd name="T8" fmla="*/ 1 w 13"/>
                <a:gd name="T9" fmla="*/ 2 h 12"/>
                <a:gd name="T10" fmla="*/ 0 w 13"/>
                <a:gd name="T11" fmla="*/ 2 h 12"/>
              </a:gdLst>
              <a:ahLst/>
              <a:cxnLst>
                <a:cxn ang="0">
                  <a:pos x="T0" y="T1"/>
                </a:cxn>
                <a:cxn ang="0">
                  <a:pos x="T2" y="T3"/>
                </a:cxn>
                <a:cxn ang="0">
                  <a:pos x="T4" y="T5"/>
                </a:cxn>
                <a:cxn ang="0">
                  <a:pos x="T6" y="T7"/>
                </a:cxn>
                <a:cxn ang="0">
                  <a:pos x="T8" y="T9"/>
                </a:cxn>
                <a:cxn ang="0">
                  <a:pos x="T10" y="T11"/>
                </a:cxn>
              </a:cxnLst>
              <a:rect l="0" t="0" r="r" b="b"/>
              <a:pathLst>
                <a:path w="13" h="12">
                  <a:moveTo>
                    <a:pt x="0" y="2"/>
                  </a:moveTo>
                  <a:cubicBezTo>
                    <a:pt x="1" y="5"/>
                    <a:pt x="2" y="8"/>
                    <a:pt x="2" y="12"/>
                  </a:cubicBezTo>
                  <a:cubicBezTo>
                    <a:pt x="4" y="11"/>
                    <a:pt x="7" y="10"/>
                    <a:pt x="9" y="8"/>
                  </a:cubicBezTo>
                  <a:cubicBezTo>
                    <a:pt x="13" y="5"/>
                    <a:pt x="11" y="0"/>
                    <a:pt x="6" y="1"/>
                  </a:cubicBezTo>
                  <a:cubicBezTo>
                    <a:pt x="5" y="1"/>
                    <a:pt x="3" y="1"/>
                    <a:pt x="1" y="2"/>
                  </a:cubicBezTo>
                  <a:cubicBezTo>
                    <a:pt x="1" y="2"/>
                    <a:pt x="0" y="2"/>
                    <a:pt x="0" y="2"/>
                  </a:cubicBezTo>
                  <a:close/>
                </a:path>
              </a:pathLst>
            </a:custGeom>
            <a:solidFill>
              <a:srgbClr val="FCCD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6" name="Freeform 74">
              <a:extLst>
                <a:ext uri="{FF2B5EF4-FFF2-40B4-BE49-F238E27FC236}">
                  <a16:creationId xmlns:a16="http://schemas.microsoft.com/office/drawing/2014/main" id="{97D77F5D-F717-4831-94A5-2526D48FB24C}"/>
                </a:ext>
              </a:extLst>
            </p:cNvPr>
            <p:cNvSpPr>
              <a:spLocks/>
            </p:cNvSpPr>
            <p:nvPr/>
          </p:nvSpPr>
          <p:spPr bwMode="auto">
            <a:xfrm>
              <a:off x="7197200" y="6321786"/>
              <a:ext cx="460061" cy="769222"/>
            </a:xfrm>
            <a:custGeom>
              <a:avLst/>
              <a:gdLst>
                <a:gd name="T0" fmla="*/ 0 w 133"/>
                <a:gd name="T1" fmla="*/ 216 h 221"/>
                <a:gd name="T2" fmla="*/ 130 w 133"/>
                <a:gd name="T3" fmla="*/ 216 h 221"/>
                <a:gd name="T4" fmla="*/ 130 w 133"/>
                <a:gd name="T5" fmla="*/ 216 h 221"/>
                <a:gd name="T6" fmla="*/ 122 w 133"/>
                <a:gd name="T7" fmla="*/ 163 h 221"/>
                <a:gd name="T8" fmla="*/ 133 w 133"/>
                <a:gd name="T9" fmla="*/ 5 h 221"/>
                <a:gd name="T10" fmla="*/ 66 w 133"/>
                <a:gd name="T11" fmla="*/ 0 h 221"/>
                <a:gd name="T12" fmla="*/ 66 w 133"/>
                <a:gd name="T13" fmla="*/ 22 h 221"/>
                <a:gd name="T14" fmla="*/ 0 w 133"/>
                <a:gd name="T15" fmla="*/ 216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221">
                  <a:moveTo>
                    <a:pt x="0" y="216"/>
                  </a:moveTo>
                  <a:cubicBezTo>
                    <a:pt x="64" y="221"/>
                    <a:pt x="130" y="216"/>
                    <a:pt x="130" y="216"/>
                  </a:cubicBezTo>
                  <a:cubicBezTo>
                    <a:pt x="130" y="216"/>
                    <a:pt x="130" y="216"/>
                    <a:pt x="130" y="216"/>
                  </a:cubicBezTo>
                  <a:cubicBezTo>
                    <a:pt x="128" y="192"/>
                    <a:pt x="125" y="171"/>
                    <a:pt x="122" y="163"/>
                  </a:cubicBezTo>
                  <a:cubicBezTo>
                    <a:pt x="118" y="151"/>
                    <a:pt x="125" y="76"/>
                    <a:pt x="133" y="5"/>
                  </a:cubicBezTo>
                  <a:cubicBezTo>
                    <a:pt x="66" y="0"/>
                    <a:pt x="66" y="0"/>
                    <a:pt x="66" y="0"/>
                  </a:cubicBezTo>
                  <a:cubicBezTo>
                    <a:pt x="66" y="0"/>
                    <a:pt x="67" y="8"/>
                    <a:pt x="66" y="22"/>
                  </a:cubicBezTo>
                  <a:cubicBezTo>
                    <a:pt x="64" y="64"/>
                    <a:pt x="54" y="159"/>
                    <a:pt x="0" y="216"/>
                  </a:cubicBezTo>
                  <a:close/>
                </a:path>
              </a:pathLst>
            </a:custGeom>
            <a:solidFill>
              <a:srgbClr val="B4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7" name="Freeform 75">
              <a:extLst>
                <a:ext uri="{FF2B5EF4-FFF2-40B4-BE49-F238E27FC236}">
                  <a16:creationId xmlns:a16="http://schemas.microsoft.com/office/drawing/2014/main" id="{6A445D20-34A5-4C3C-B15A-7709EA6E9EAA}"/>
                </a:ext>
              </a:extLst>
            </p:cNvPr>
            <p:cNvSpPr>
              <a:spLocks/>
            </p:cNvSpPr>
            <p:nvPr/>
          </p:nvSpPr>
          <p:spPr bwMode="auto">
            <a:xfrm>
              <a:off x="7381224" y="6075194"/>
              <a:ext cx="283398" cy="401174"/>
            </a:xfrm>
            <a:custGeom>
              <a:avLst/>
              <a:gdLst>
                <a:gd name="T0" fmla="*/ 0 w 82"/>
                <a:gd name="T1" fmla="*/ 0 h 116"/>
                <a:gd name="T2" fmla="*/ 12 w 82"/>
                <a:gd name="T3" fmla="*/ 107 h 116"/>
                <a:gd name="T4" fmla="*/ 76 w 82"/>
                <a:gd name="T5" fmla="*/ 116 h 116"/>
                <a:gd name="T6" fmla="*/ 80 w 82"/>
                <a:gd name="T7" fmla="*/ 76 h 116"/>
                <a:gd name="T8" fmla="*/ 82 w 82"/>
                <a:gd name="T9" fmla="*/ 61 h 116"/>
                <a:gd name="T10" fmla="*/ 0 w 82"/>
                <a:gd name="T11" fmla="*/ 0 h 116"/>
              </a:gdLst>
              <a:ahLst/>
              <a:cxnLst>
                <a:cxn ang="0">
                  <a:pos x="T0" y="T1"/>
                </a:cxn>
                <a:cxn ang="0">
                  <a:pos x="T2" y="T3"/>
                </a:cxn>
                <a:cxn ang="0">
                  <a:pos x="T4" y="T5"/>
                </a:cxn>
                <a:cxn ang="0">
                  <a:pos x="T6" y="T7"/>
                </a:cxn>
                <a:cxn ang="0">
                  <a:pos x="T8" y="T9"/>
                </a:cxn>
                <a:cxn ang="0">
                  <a:pos x="T10" y="T11"/>
                </a:cxn>
              </a:cxnLst>
              <a:rect l="0" t="0" r="r" b="b"/>
              <a:pathLst>
                <a:path w="82" h="116">
                  <a:moveTo>
                    <a:pt x="0" y="0"/>
                  </a:moveTo>
                  <a:cubicBezTo>
                    <a:pt x="0" y="0"/>
                    <a:pt x="1" y="71"/>
                    <a:pt x="12" y="107"/>
                  </a:cubicBezTo>
                  <a:cubicBezTo>
                    <a:pt x="76" y="116"/>
                    <a:pt x="76" y="116"/>
                    <a:pt x="76" y="116"/>
                  </a:cubicBezTo>
                  <a:cubicBezTo>
                    <a:pt x="77" y="102"/>
                    <a:pt x="79" y="89"/>
                    <a:pt x="80" y="76"/>
                  </a:cubicBezTo>
                  <a:cubicBezTo>
                    <a:pt x="81" y="71"/>
                    <a:pt x="81" y="66"/>
                    <a:pt x="82" y="61"/>
                  </a:cubicBezTo>
                  <a:lnTo>
                    <a:pt x="0" y="0"/>
                  </a:lnTo>
                  <a:close/>
                </a:path>
              </a:pathLst>
            </a:custGeom>
            <a:solidFill>
              <a:srgbClr val="B4CB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8" name="Freeform 76">
              <a:extLst>
                <a:ext uri="{FF2B5EF4-FFF2-40B4-BE49-F238E27FC236}">
                  <a16:creationId xmlns:a16="http://schemas.microsoft.com/office/drawing/2014/main" id="{49F096B5-FDF6-43E7-97D5-11EFE517B911}"/>
                </a:ext>
              </a:extLst>
            </p:cNvPr>
            <p:cNvSpPr>
              <a:spLocks/>
            </p:cNvSpPr>
            <p:nvPr/>
          </p:nvSpPr>
          <p:spPr bwMode="auto">
            <a:xfrm>
              <a:off x="7300253" y="5843323"/>
              <a:ext cx="518949" cy="1472192"/>
            </a:xfrm>
            <a:custGeom>
              <a:avLst/>
              <a:gdLst>
                <a:gd name="T0" fmla="*/ 88 w 149"/>
                <a:gd name="T1" fmla="*/ 6 h 423"/>
                <a:gd name="T2" fmla="*/ 111 w 149"/>
                <a:gd name="T3" fmla="*/ 24 h 423"/>
                <a:gd name="T4" fmla="*/ 142 w 149"/>
                <a:gd name="T5" fmla="*/ 129 h 423"/>
                <a:gd name="T6" fmla="*/ 147 w 149"/>
                <a:gd name="T7" fmla="*/ 245 h 423"/>
                <a:gd name="T8" fmla="*/ 145 w 149"/>
                <a:gd name="T9" fmla="*/ 255 h 423"/>
                <a:gd name="T10" fmla="*/ 59 w 149"/>
                <a:gd name="T11" fmla="*/ 406 h 423"/>
                <a:gd name="T12" fmla="*/ 13 w 149"/>
                <a:gd name="T13" fmla="*/ 413 h 423"/>
                <a:gd name="T14" fmla="*/ 5 w 149"/>
                <a:gd name="T15" fmla="*/ 404 h 423"/>
                <a:gd name="T16" fmla="*/ 59 w 149"/>
                <a:gd name="T17" fmla="*/ 255 h 423"/>
                <a:gd name="T18" fmla="*/ 61 w 149"/>
                <a:gd name="T19" fmla="*/ 233 h 423"/>
                <a:gd name="T20" fmla="*/ 23 w 149"/>
                <a:gd name="T21" fmla="*/ 53 h 423"/>
                <a:gd name="T22" fmla="*/ 29 w 149"/>
                <a:gd name="T23" fmla="*/ 33 h 423"/>
                <a:gd name="T24" fmla="*/ 72 w 149"/>
                <a:gd name="T25" fmla="*/ 3 h 423"/>
                <a:gd name="T26" fmla="*/ 88 w 149"/>
                <a:gd name="T27" fmla="*/ 6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9" h="423">
                  <a:moveTo>
                    <a:pt x="88" y="6"/>
                  </a:moveTo>
                  <a:cubicBezTo>
                    <a:pt x="98" y="8"/>
                    <a:pt x="106" y="15"/>
                    <a:pt x="111" y="24"/>
                  </a:cubicBezTo>
                  <a:cubicBezTo>
                    <a:pt x="121" y="41"/>
                    <a:pt x="136" y="59"/>
                    <a:pt x="142" y="129"/>
                  </a:cubicBezTo>
                  <a:cubicBezTo>
                    <a:pt x="149" y="203"/>
                    <a:pt x="148" y="233"/>
                    <a:pt x="147" y="245"/>
                  </a:cubicBezTo>
                  <a:cubicBezTo>
                    <a:pt x="147" y="248"/>
                    <a:pt x="146" y="252"/>
                    <a:pt x="145" y="255"/>
                  </a:cubicBezTo>
                  <a:cubicBezTo>
                    <a:pt x="137" y="273"/>
                    <a:pt x="103" y="349"/>
                    <a:pt x="59" y="406"/>
                  </a:cubicBezTo>
                  <a:cubicBezTo>
                    <a:pt x="48" y="419"/>
                    <a:pt x="28" y="423"/>
                    <a:pt x="13" y="413"/>
                  </a:cubicBezTo>
                  <a:cubicBezTo>
                    <a:pt x="9" y="411"/>
                    <a:pt x="6" y="408"/>
                    <a:pt x="5" y="404"/>
                  </a:cubicBezTo>
                  <a:cubicBezTo>
                    <a:pt x="0" y="393"/>
                    <a:pt x="44" y="291"/>
                    <a:pt x="59" y="255"/>
                  </a:cubicBezTo>
                  <a:cubicBezTo>
                    <a:pt x="62" y="248"/>
                    <a:pt x="63" y="240"/>
                    <a:pt x="61" y="233"/>
                  </a:cubicBezTo>
                  <a:cubicBezTo>
                    <a:pt x="51" y="196"/>
                    <a:pt x="20" y="81"/>
                    <a:pt x="23" y="53"/>
                  </a:cubicBezTo>
                  <a:cubicBezTo>
                    <a:pt x="23" y="53"/>
                    <a:pt x="23" y="45"/>
                    <a:pt x="29" y="33"/>
                  </a:cubicBezTo>
                  <a:cubicBezTo>
                    <a:pt x="34" y="21"/>
                    <a:pt x="55" y="0"/>
                    <a:pt x="72" y="3"/>
                  </a:cubicBezTo>
                  <a:cubicBezTo>
                    <a:pt x="79" y="4"/>
                    <a:pt x="84" y="5"/>
                    <a:pt x="88" y="6"/>
                  </a:cubicBezTo>
                  <a:close/>
                </a:path>
              </a:pathLst>
            </a:custGeom>
            <a:solidFill>
              <a:srgbClr val="E6ED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79" name="Freeform 77">
              <a:extLst>
                <a:ext uri="{FF2B5EF4-FFF2-40B4-BE49-F238E27FC236}">
                  <a16:creationId xmlns:a16="http://schemas.microsoft.com/office/drawing/2014/main" id="{6585719F-4D21-46AE-B705-A623C1034318}"/>
                </a:ext>
              </a:extLst>
            </p:cNvPr>
            <p:cNvSpPr>
              <a:spLocks/>
            </p:cNvSpPr>
            <p:nvPr/>
          </p:nvSpPr>
          <p:spPr bwMode="auto">
            <a:xfrm>
              <a:off x="7451154" y="5696104"/>
              <a:ext cx="239232" cy="150901"/>
            </a:xfrm>
            <a:custGeom>
              <a:avLst/>
              <a:gdLst>
                <a:gd name="T0" fmla="*/ 0 w 69"/>
                <a:gd name="T1" fmla="*/ 8 h 43"/>
                <a:gd name="T2" fmla="*/ 35 w 69"/>
                <a:gd name="T3" fmla="*/ 34 h 43"/>
                <a:gd name="T4" fmla="*/ 69 w 69"/>
                <a:gd name="T5" fmla="*/ 43 h 43"/>
                <a:gd name="T6" fmla="*/ 67 w 69"/>
                <a:gd name="T7" fmla="*/ 0 h 43"/>
                <a:gd name="T8" fmla="*/ 56 w 69"/>
                <a:gd name="T9" fmla="*/ 2 h 43"/>
                <a:gd name="T10" fmla="*/ 0 w 69"/>
                <a:gd name="T11" fmla="*/ 8 h 43"/>
              </a:gdLst>
              <a:ahLst/>
              <a:cxnLst>
                <a:cxn ang="0">
                  <a:pos x="T0" y="T1"/>
                </a:cxn>
                <a:cxn ang="0">
                  <a:pos x="T2" y="T3"/>
                </a:cxn>
                <a:cxn ang="0">
                  <a:pos x="T4" y="T5"/>
                </a:cxn>
                <a:cxn ang="0">
                  <a:pos x="T6" y="T7"/>
                </a:cxn>
                <a:cxn ang="0">
                  <a:pos x="T8" y="T9"/>
                </a:cxn>
                <a:cxn ang="0">
                  <a:pos x="T10" y="T11"/>
                </a:cxn>
              </a:cxnLst>
              <a:rect l="0" t="0" r="r" b="b"/>
              <a:pathLst>
                <a:path w="69" h="43">
                  <a:moveTo>
                    <a:pt x="0" y="8"/>
                  </a:moveTo>
                  <a:cubicBezTo>
                    <a:pt x="13" y="21"/>
                    <a:pt x="25" y="29"/>
                    <a:pt x="35" y="34"/>
                  </a:cubicBezTo>
                  <a:cubicBezTo>
                    <a:pt x="55" y="43"/>
                    <a:pt x="69" y="43"/>
                    <a:pt x="69" y="43"/>
                  </a:cubicBezTo>
                  <a:cubicBezTo>
                    <a:pt x="67" y="0"/>
                    <a:pt x="67" y="0"/>
                    <a:pt x="67" y="0"/>
                  </a:cubicBezTo>
                  <a:cubicBezTo>
                    <a:pt x="56" y="2"/>
                    <a:pt x="56" y="2"/>
                    <a:pt x="56" y="2"/>
                  </a:cubicBezTo>
                  <a:lnTo>
                    <a:pt x="0" y="8"/>
                  </a:lnTo>
                  <a:close/>
                </a:path>
              </a:pathLst>
            </a:custGeom>
            <a:solidFill>
              <a:srgbClr val="B9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80" name="Freeform 78">
              <a:extLst>
                <a:ext uri="{FF2B5EF4-FFF2-40B4-BE49-F238E27FC236}">
                  <a16:creationId xmlns:a16="http://schemas.microsoft.com/office/drawing/2014/main" id="{93BE3E1C-0E65-4053-B9B6-80DDCC25CE9F}"/>
                </a:ext>
              </a:extLst>
            </p:cNvPr>
            <p:cNvSpPr>
              <a:spLocks/>
            </p:cNvSpPr>
            <p:nvPr/>
          </p:nvSpPr>
          <p:spPr bwMode="auto">
            <a:xfrm>
              <a:off x="7565248" y="7142534"/>
              <a:ext cx="382770" cy="3073203"/>
            </a:xfrm>
            <a:custGeom>
              <a:avLst/>
              <a:gdLst>
                <a:gd name="T0" fmla="*/ 101 w 110"/>
                <a:gd name="T1" fmla="*/ 883 h 883"/>
                <a:gd name="T2" fmla="*/ 110 w 110"/>
                <a:gd name="T3" fmla="*/ 883 h 883"/>
                <a:gd name="T4" fmla="*/ 56 w 110"/>
                <a:gd name="T5" fmla="*/ 499 h 883"/>
                <a:gd name="T6" fmla="*/ 25 w 110"/>
                <a:gd name="T7" fmla="*/ 22 h 883"/>
                <a:gd name="T8" fmla="*/ 25 w 110"/>
                <a:gd name="T9" fmla="*/ 1 h 883"/>
                <a:gd name="T10" fmla="*/ 25 w 110"/>
                <a:gd name="T11" fmla="*/ 0 h 883"/>
                <a:gd name="T12" fmla="*/ 16 w 110"/>
                <a:gd name="T13" fmla="*/ 3 h 883"/>
                <a:gd name="T14" fmla="*/ 101 w 110"/>
                <a:gd name="T15" fmla="*/ 883 h 8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883">
                  <a:moveTo>
                    <a:pt x="101" y="883"/>
                  </a:moveTo>
                  <a:cubicBezTo>
                    <a:pt x="110" y="883"/>
                    <a:pt x="110" y="883"/>
                    <a:pt x="110" y="883"/>
                  </a:cubicBezTo>
                  <a:cubicBezTo>
                    <a:pt x="110" y="883"/>
                    <a:pt x="78" y="569"/>
                    <a:pt x="56" y="499"/>
                  </a:cubicBezTo>
                  <a:cubicBezTo>
                    <a:pt x="38" y="439"/>
                    <a:pt x="28" y="113"/>
                    <a:pt x="25" y="22"/>
                  </a:cubicBezTo>
                  <a:cubicBezTo>
                    <a:pt x="25" y="12"/>
                    <a:pt x="25" y="4"/>
                    <a:pt x="25" y="1"/>
                  </a:cubicBezTo>
                  <a:cubicBezTo>
                    <a:pt x="25" y="0"/>
                    <a:pt x="25" y="0"/>
                    <a:pt x="25" y="0"/>
                  </a:cubicBezTo>
                  <a:cubicBezTo>
                    <a:pt x="16" y="3"/>
                    <a:pt x="16" y="3"/>
                    <a:pt x="16" y="3"/>
                  </a:cubicBezTo>
                  <a:cubicBezTo>
                    <a:pt x="16" y="3"/>
                    <a:pt x="0" y="648"/>
                    <a:pt x="101" y="883"/>
                  </a:cubicBezTo>
                  <a:close/>
                </a:path>
              </a:pathLst>
            </a:custGeom>
            <a:solidFill>
              <a:srgbClr val="B9CA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81" name="Freeform 79">
              <a:extLst>
                <a:ext uri="{FF2B5EF4-FFF2-40B4-BE49-F238E27FC236}">
                  <a16:creationId xmlns:a16="http://schemas.microsoft.com/office/drawing/2014/main" id="{CF346CEE-B099-4950-8215-2167EC36DCFC}"/>
                </a:ext>
              </a:extLst>
            </p:cNvPr>
            <p:cNvSpPr>
              <a:spLocks/>
            </p:cNvSpPr>
            <p:nvPr/>
          </p:nvSpPr>
          <p:spPr bwMode="auto">
            <a:xfrm>
              <a:off x="4771764" y="5501039"/>
              <a:ext cx="235551" cy="290759"/>
            </a:xfrm>
            <a:custGeom>
              <a:avLst/>
              <a:gdLst>
                <a:gd name="T0" fmla="*/ 0 w 68"/>
                <a:gd name="T1" fmla="*/ 0 h 83"/>
                <a:gd name="T2" fmla="*/ 47 w 68"/>
                <a:gd name="T3" fmla="*/ 81 h 83"/>
                <a:gd name="T4" fmla="*/ 68 w 68"/>
                <a:gd name="T5" fmla="*/ 83 h 83"/>
                <a:gd name="T6" fmla="*/ 68 w 68"/>
                <a:gd name="T7" fmla="*/ 37 h 83"/>
                <a:gd name="T8" fmla="*/ 22 w 68"/>
                <a:gd name="T9" fmla="*/ 2 h 83"/>
                <a:gd name="T10" fmla="*/ 0 w 68"/>
                <a:gd name="T11" fmla="*/ 0 h 83"/>
              </a:gdLst>
              <a:ahLst/>
              <a:cxnLst>
                <a:cxn ang="0">
                  <a:pos x="T0" y="T1"/>
                </a:cxn>
                <a:cxn ang="0">
                  <a:pos x="T2" y="T3"/>
                </a:cxn>
                <a:cxn ang="0">
                  <a:pos x="T4" y="T5"/>
                </a:cxn>
                <a:cxn ang="0">
                  <a:pos x="T6" y="T7"/>
                </a:cxn>
                <a:cxn ang="0">
                  <a:pos x="T8" y="T9"/>
                </a:cxn>
                <a:cxn ang="0">
                  <a:pos x="T10" y="T11"/>
                </a:cxn>
              </a:cxnLst>
              <a:rect l="0" t="0" r="r" b="b"/>
              <a:pathLst>
                <a:path w="68" h="83">
                  <a:moveTo>
                    <a:pt x="0" y="0"/>
                  </a:moveTo>
                  <a:cubicBezTo>
                    <a:pt x="0" y="0"/>
                    <a:pt x="8" y="53"/>
                    <a:pt x="47" y="81"/>
                  </a:cubicBezTo>
                  <a:cubicBezTo>
                    <a:pt x="68" y="83"/>
                    <a:pt x="68" y="83"/>
                    <a:pt x="68" y="83"/>
                  </a:cubicBezTo>
                  <a:cubicBezTo>
                    <a:pt x="68" y="37"/>
                    <a:pt x="68" y="37"/>
                    <a:pt x="68" y="37"/>
                  </a:cubicBezTo>
                  <a:cubicBezTo>
                    <a:pt x="22" y="2"/>
                    <a:pt x="22" y="2"/>
                    <a:pt x="22" y="2"/>
                  </a:cubicBezTo>
                  <a:lnTo>
                    <a:pt x="0" y="0"/>
                  </a:lnTo>
                  <a:close/>
                </a:path>
              </a:pathLst>
            </a:custGeom>
            <a:solidFill>
              <a:srgbClr val="F79B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82" name="Freeform 80">
              <a:extLst>
                <a:ext uri="{FF2B5EF4-FFF2-40B4-BE49-F238E27FC236}">
                  <a16:creationId xmlns:a16="http://schemas.microsoft.com/office/drawing/2014/main" id="{90AD2140-001D-4059-8C93-9417F2A46607}"/>
                </a:ext>
              </a:extLst>
            </p:cNvPr>
            <p:cNvSpPr>
              <a:spLocks/>
            </p:cNvSpPr>
            <p:nvPr/>
          </p:nvSpPr>
          <p:spPr bwMode="auto">
            <a:xfrm>
              <a:off x="4617184" y="5718187"/>
              <a:ext cx="831789" cy="1704064"/>
            </a:xfrm>
            <a:custGeom>
              <a:avLst/>
              <a:gdLst>
                <a:gd name="T0" fmla="*/ 18 w 239"/>
                <a:gd name="T1" fmla="*/ 309 h 490"/>
                <a:gd name="T2" fmla="*/ 13 w 239"/>
                <a:gd name="T3" fmla="*/ 439 h 490"/>
                <a:gd name="T4" fmla="*/ 36 w 239"/>
                <a:gd name="T5" fmla="*/ 471 h 490"/>
                <a:gd name="T6" fmla="*/ 47 w 239"/>
                <a:gd name="T7" fmla="*/ 473 h 490"/>
                <a:gd name="T8" fmla="*/ 103 w 239"/>
                <a:gd name="T9" fmla="*/ 484 h 490"/>
                <a:gd name="T10" fmla="*/ 165 w 239"/>
                <a:gd name="T11" fmla="*/ 489 h 490"/>
                <a:gd name="T12" fmla="*/ 230 w 239"/>
                <a:gd name="T13" fmla="*/ 473 h 490"/>
                <a:gd name="T14" fmla="*/ 229 w 239"/>
                <a:gd name="T15" fmla="*/ 389 h 490"/>
                <a:gd name="T16" fmla="*/ 177 w 239"/>
                <a:gd name="T17" fmla="*/ 198 h 490"/>
                <a:gd name="T18" fmla="*/ 165 w 239"/>
                <a:gd name="T19" fmla="*/ 161 h 490"/>
                <a:gd name="T20" fmla="*/ 150 w 239"/>
                <a:gd name="T21" fmla="*/ 115 h 490"/>
                <a:gd name="T22" fmla="*/ 141 w 239"/>
                <a:gd name="T23" fmla="*/ 86 h 490"/>
                <a:gd name="T24" fmla="*/ 125 w 239"/>
                <a:gd name="T25" fmla="*/ 33 h 490"/>
                <a:gd name="T26" fmla="*/ 112 w 239"/>
                <a:gd name="T27" fmla="*/ 15 h 490"/>
                <a:gd name="T28" fmla="*/ 23 w 239"/>
                <a:gd name="T29" fmla="*/ 12 h 490"/>
                <a:gd name="T30" fmla="*/ 3 w 239"/>
                <a:gd name="T31" fmla="*/ 51 h 490"/>
                <a:gd name="T32" fmla="*/ 3 w 239"/>
                <a:gd name="T33" fmla="*/ 51 h 490"/>
                <a:gd name="T34" fmla="*/ 9 w 239"/>
                <a:gd name="T35" fmla="*/ 113 h 490"/>
                <a:gd name="T36" fmla="*/ 18 w 239"/>
                <a:gd name="T37" fmla="*/ 309 h 490"/>
                <a:gd name="T38" fmla="*/ 18 w 239"/>
                <a:gd name="T39" fmla="*/ 309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9" h="490">
                  <a:moveTo>
                    <a:pt x="18" y="309"/>
                  </a:moveTo>
                  <a:cubicBezTo>
                    <a:pt x="19" y="358"/>
                    <a:pt x="18" y="405"/>
                    <a:pt x="13" y="439"/>
                  </a:cubicBezTo>
                  <a:cubicBezTo>
                    <a:pt x="11" y="454"/>
                    <a:pt x="21" y="468"/>
                    <a:pt x="36" y="471"/>
                  </a:cubicBezTo>
                  <a:cubicBezTo>
                    <a:pt x="39" y="472"/>
                    <a:pt x="43" y="473"/>
                    <a:pt x="47" y="473"/>
                  </a:cubicBezTo>
                  <a:cubicBezTo>
                    <a:pt x="63" y="477"/>
                    <a:pt x="83" y="481"/>
                    <a:pt x="103" y="484"/>
                  </a:cubicBezTo>
                  <a:cubicBezTo>
                    <a:pt x="124" y="487"/>
                    <a:pt x="146" y="489"/>
                    <a:pt x="165" y="489"/>
                  </a:cubicBezTo>
                  <a:cubicBezTo>
                    <a:pt x="195" y="490"/>
                    <a:pt x="221" y="486"/>
                    <a:pt x="230" y="473"/>
                  </a:cubicBezTo>
                  <a:cubicBezTo>
                    <a:pt x="239" y="461"/>
                    <a:pt x="237" y="430"/>
                    <a:pt x="229" y="389"/>
                  </a:cubicBezTo>
                  <a:cubicBezTo>
                    <a:pt x="218" y="336"/>
                    <a:pt x="198" y="266"/>
                    <a:pt x="177" y="198"/>
                  </a:cubicBezTo>
                  <a:cubicBezTo>
                    <a:pt x="173" y="186"/>
                    <a:pt x="169" y="173"/>
                    <a:pt x="165" y="161"/>
                  </a:cubicBezTo>
                  <a:cubicBezTo>
                    <a:pt x="160" y="145"/>
                    <a:pt x="155" y="130"/>
                    <a:pt x="150" y="115"/>
                  </a:cubicBezTo>
                  <a:cubicBezTo>
                    <a:pt x="147" y="105"/>
                    <a:pt x="144" y="95"/>
                    <a:pt x="141" y="86"/>
                  </a:cubicBezTo>
                  <a:cubicBezTo>
                    <a:pt x="135" y="66"/>
                    <a:pt x="130" y="48"/>
                    <a:pt x="125" y="33"/>
                  </a:cubicBezTo>
                  <a:cubicBezTo>
                    <a:pt x="117" y="21"/>
                    <a:pt x="112" y="15"/>
                    <a:pt x="112" y="15"/>
                  </a:cubicBezTo>
                  <a:cubicBezTo>
                    <a:pt x="61" y="0"/>
                    <a:pt x="23" y="12"/>
                    <a:pt x="23" y="12"/>
                  </a:cubicBezTo>
                  <a:cubicBezTo>
                    <a:pt x="12" y="22"/>
                    <a:pt x="6" y="36"/>
                    <a:pt x="3" y="51"/>
                  </a:cubicBezTo>
                  <a:cubicBezTo>
                    <a:pt x="3" y="51"/>
                    <a:pt x="3" y="51"/>
                    <a:pt x="3" y="51"/>
                  </a:cubicBezTo>
                  <a:cubicBezTo>
                    <a:pt x="0" y="70"/>
                    <a:pt x="3" y="92"/>
                    <a:pt x="9" y="113"/>
                  </a:cubicBezTo>
                  <a:cubicBezTo>
                    <a:pt x="12" y="164"/>
                    <a:pt x="17" y="239"/>
                    <a:pt x="18" y="309"/>
                  </a:cubicBezTo>
                  <a:cubicBezTo>
                    <a:pt x="18" y="309"/>
                    <a:pt x="18" y="309"/>
                    <a:pt x="18" y="309"/>
                  </a:cubicBezTo>
                  <a:close/>
                </a:path>
              </a:pathLst>
            </a:custGeom>
            <a:solidFill>
              <a:srgbClr val="4D4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83" name="Freeform 81">
              <a:extLst>
                <a:ext uri="{FF2B5EF4-FFF2-40B4-BE49-F238E27FC236}">
                  <a16:creationId xmlns:a16="http://schemas.microsoft.com/office/drawing/2014/main" id="{2C6291B4-6508-4A9C-84E0-3DAC31A63023}"/>
                </a:ext>
              </a:extLst>
            </p:cNvPr>
            <p:cNvSpPr>
              <a:spLocks/>
            </p:cNvSpPr>
            <p:nvPr/>
          </p:nvSpPr>
          <p:spPr bwMode="auto">
            <a:xfrm>
              <a:off x="5121408" y="6093596"/>
              <a:ext cx="1019494" cy="430617"/>
            </a:xfrm>
            <a:custGeom>
              <a:avLst/>
              <a:gdLst>
                <a:gd name="T0" fmla="*/ 0 w 293"/>
                <a:gd name="T1" fmla="*/ 0 h 123"/>
                <a:gd name="T2" fmla="*/ 6 w 293"/>
                <a:gd name="T3" fmla="*/ 21 h 123"/>
                <a:gd name="T4" fmla="*/ 85 w 293"/>
                <a:gd name="T5" fmla="*/ 88 h 123"/>
                <a:gd name="T6" fmla="*/ 135 w 293"/>
                <a:gd name="T7" fmla="*/ 99 h 123"/>
                <a:gd name="T8" fmla="*/ 173 w 293"/>
                <a:gd name="T9" fmla="*/ 108 h 123"/>
                <a:gd name="T10" fmla="*/ 293 w 293"/>
                <a:gd name="T11" fmla="*/ 123 h 123"/>
                <a:gd name="T12" fmla="*/ 292 w 293"/>
                <a:gd name="T13" fmla="*/ 112 h 123"/>
                <a:gd name="T14" fmla="*/ 0 w 293"/>
                <a:gd name="T15" fmla="*/ 1 h 123"/>
                <a:gd name="T16" fmla="*/ 0 w 293"/>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3" h="123">
                  <a:moveTo>
                    <a:pt x="0" y="0"/>
                  </a:moveTo>
                  <a:cubicBezTo>
                    <a:pt x="6" y="21"/>
                    <a:pt x="6" y="21"/>
                    <a:pt x="6" y="21"/>
                  </a:cubicBezTo>
                  <a:cubicBezTo>
                    <a:pt x="85" y="88"/>
                    <a:pt x="85" y="88"/>
                    <a:pt x="85" y="88"/>
                  </a:cubicBezTo>
                  <a:cubicBezTo>
                    <a:pt x="85" y="88"/>
                    <a:pt x="109" y="93"/>
                    <a:pt x="135" y="99"/>
                  </a:cubicBezTo>
                  <a:cubicBezTo>
                    <a:pt x="148" y="102"/>
                    <a:pt x="162" y="106"/>
                    <a:pt x="173" y="108"/>
                  </a:cubicBezTo>
                  <a:cubicBezTo>
                    <a:pt x="205" y="116"/>
                    <a:pt x="293" y="123"/>
                    <a:pt x="293" y="123"/>
                  </a:cubicBezTo>
                  <a:cubicBezTo>
                    <a:pt x="292" y="120"/>
                    <a:pt x="292" y="116"/>
                    <a:pt x="292" y="112"/>
                  </a:cubicBezTo>
                  <a:cubicBezTo>
                    <a:pt x="292" y="112"/>
                    <a:pt x="70" y="95"/>
                    <a:pt x="0" y="1"/>
                  </a:cubicBezTo>
                  <a:cubicBezTo>
                    <a:pt x="0" y="1"/>
                    <a:pt x="0" y="0"/>
                    <a:pt x="0" y="0"/>
                  </a:cubicBezTo>
                  <a:close/>
                </a:path>
              </a:pathLst>
            </a:custGeom>
            <a:solidFill>
              <a:srgbClr val="373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84" name="Freeform 82">
              <a:extLst>
                <a:ext uri="{FF2B5EF4-FFF2-40B4-BE49-F238E27FC236}">
                  <a16:creationId xmlns:a16="http://schemas.microsoft.com/office/drawing/2014/main" id="{D9832C18-4C12-4DD9-9644-63D1CB45E5C5}"/>
                </a:ext>
              </a:extLst>
            </p:cNvPr>
            <p:cNvSpPr>
              <a:spLocks/>
            </p:cNvSpPr>
            <p:nvPr/>
          </p:nvSpPr>
          <p:spPr bwMode="auto">
            <a:xfrm>
              <a:off x="4757042" y="6093596"/>
              <a:ext cx="655126" cy="979008"/>
            </a:xfrm>
            <a:custGeom>
              <a:avLst/>
              <a:gdLst>
                <a:gd name="T0" fmla="*/ 0 w 189"/>
                <a:gd name="T1" fmla="*/ 0 h 281"/>
                <a:gd name="T2" fmla="*/ 189 w 189"/>
                <a:gd name="T3" fmla="*/ 281 h 281"/>
                <a:gd name="T4" fmla="*/ 137 w 189"/>
                <a:gd name="T5" fmla="*/ 90 h 281"/>
                <a:gd name="T6" fmla="*/ 125 w 189"/>
                <a:gd name="T7" fmla="*/ 53 h 281"/>
                <a:gd name="T8" fmla="*/ 116 w 189"/>
                <a:gd name="T9" fmla="*/ 41 h 281"/>
                <a:gd name="T10" fmla="*/ 0 w 189"/>
                <a:gd name="T11" fmla="*/ 0 h 281"/>
              </a:gdLst>
              <a:ahLst/>
              <a:cxnLst>
                <a:cxn ang="0">
                  <a:pos x="T0" y="T1"/>
                </a:cxn>
                <a:cxn ang="0">
                  <a:pos x="T2" y="T3"/>
                </a:cxn>
                <a:cxn ang="0">
                  <a:pos x="T4" y="T5"/>
                </a:cxn>
                <a:cxn ang="0">
                  <a:pos x="T6" y="T7"/>
                </a:cxn>
                <a:cxn ang="0">
                  <a:pos x="T8" y="T9"/>
                </a:cxn>
                <a:cxn ang="0">
                  <a:pos x="T10" y="T11"/>
                </a:cxn>
              </a:cxnLst>
              <a:rect l="0" t="0" r="r" b="b"/>
              <a:pathLst>
                <a:path w="189" h="281">
                  <a:moveTo>
                    <a:pt x="0" y="0"/>
                  </a:moveTo>
                  <a:cubicBezTo>
                    <a:pt x="0" y="0"/>
                    <a:pt x="46" y="254"/>
                    <a:pt x="189" y="281"/>
                  </a:cubicBezTo>
                  <a:cubicBezTo>
                    <a:pt x="178" y="228"/>
                    <a:pt x="158" y="158"/>
                    <a:pt x="137" y="90"/>
                  </a:cubicBezTo>
                  <a:cubicBezTo>
                    <a:pt x="133" y="78"/>
                    <a:pt x="129" y="65"/>
                    <a:pt x="125" y="53"/>
                  </a:cubicBezTo>
                  <a:cubicBezTo>
                    <a:pt x="119" y="45"/>
                    <a:pt x="116" y="41"/>
                    <a:pt x="116" y="41"/>
                  </a:cubicBezTo>
                  <a:lnTo>
                    <a:pt x="0" y="0"/>
                  </a:lnTo>
                  <a:close/>
                </a:path>
              </a:pathLst>
            </a:custGeom>
            <a:solidFill>
              <a:srgbClr val="373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85" name="Freeform 83">
              <a:extLst>
                <a:ext uri="{FF2B5EF4-FFF2-40B4-BE49-F238E27FC236}">
                  <a16:creationId xmlns:a16="http://schemas.microsoft.com/office/drawing/2014/main" id="{E889506D-002E-45B9-A833-11D241AA2DB1}"/>
                </a:ext>
              </a:extLst>
            </p:cNvPr>
            <p:cNvSpPr>
              <a:spLocks/>
            </p:cNvSpPr>
            <p:nvPr/>
          </p:nvSpPr>
          <p:spPr bwMode="auto">
            <a:xfrm>
              <a:off x="4668710" y="5766034"/>
              <a:ext cx="1343377" cy="971647"/>
            </a:xfrm>
            <a:custGeom>
              <a:avLst/>
              <a:gdLst>
                <a:gd name="T0" fmla="*/ 1 w 386"/>
                <a:gd name="T1" fmla="*/ 40 h 279"/>
                <a:gd name="T2" fmla="*/ 9 w 386"/>
                <a:gd name="T3" fmla="*/ 64 h 279"/>
                <a:gd name="T4" fmla="*/ 22 w 386"/>
                <a:gd name="T5" fmla="*/ 88 h 279"/>
                <a:gd name="T6" fmla="*/ 94 w 386"/>
                <a:gd name="T7" fmla="*/ 164 h 279"/>
                <a:gd name="T8" fmla="*/ 173 w 386"/>
                <a:gd name="T9" fmla="*/ 220 h 279"/>
                <a:gd name="T10" fmla="*/ 187 w 386"/>
                <a:gd name="T11" fmla="*/ 228 h 279"/>
                <a:gd name="T12" fmla="*/ 307 w 386"/>
                <a:gd name="T13" fmla="*/ 267 h 279"/>
                <a:gd name="T14" fmla="*/ 374 w 386"/>
                <a:gd name="T15" fmla="*/ 278 h 279"/>
                <a:gd name="T16" fmla="*/ 379 w 386"/>
                <a:gd name="T17" fmla="*/ 272 h 279"/>
                <a:gd name="T18" fmla="*/ 378 w 386"/>
                <a:gd name="T19" fmla="*/ 240 h 279"/>
                <a:gd name="T20" fmla="*/ 297 w 386"/>
                <a:gd name="T21" fmla="*/ 206 h 279"/>
                <a:gd name="T22" fmla="*/ 226 w 386"/>
                <a:gd name="T23" fmla="*/ 181 h 279"/>
                <a:gd name="T24" fmla="*/ 151 w 386"/>
                <a:gd name="T25" fmla="*/ 107 h 279"/>
                <a:gd name="T26" fmla="*/ 76 w 386"/>
                <a:gd name="T27" fmla="*/ 23 h 279"/>
                <a:gd name="T28" fmla="*/ 24 w 386"/>
                <a:gd name="T29" fmla="*/ 7 h 279"/>
                <a:gd name="T30" fmla="*/ 1 w 386"/>
                <a:gd name="T31" fmla="*/ 4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6" h="279">
                  <a:moveTo>
                    <a:pt x="1" y="40"/>
                  </a:moveTo>
                  <a:cubicBezTo>
                    <a:pt x="2" y="45"/>
                    <a:pt x="5" y="55"/>
                    <a:pt x="9" y="64"/>
                  </a:cubicBezTo>
                  <a:cubicBezTo>
                    <a:pt x="13" y="74"/>
                    <a:pt x="18" y="83"/>
                    <a:pt x="22" y="88"/>
                  </a:cubicBezTo>
                  <a:cubicBezTo>
                    <a:pt x="22" y="88"/>
                    <a:pt x="46" y="128"/>
                    <a:pt x="94" y="164"/>
                  </a:cubicBezTo>
                  <a:cubicBezTo>
                    <a:pt x="132" y="192"/>
                    <a:pt x="154" y="208"/>
                    <a:pt x="173" y="220"/>
                  </a:cubicBezTo>
                  <a:cubicBezTo>
                    <a:pt x="178" y="223"/>
                    <a:pt x="182" y="226"/>
                    <a:pt x="187" y="228"/>
                  </a:cubicBezTo>
                  <a:cubicBezTo>
                    <a:pt x="208" y="241"/>
                    <a:pt x="259" y="258"/>
                    <a:pt x="307" y="267"/>
                  </a:cubicBezTo>
                  <a:cubicBezTo>
                    <a:pt x="355" y="276"/>
                    <a:pt x="370" y="279"/>
                    <a:pt x="374" y="278"/>
                  </a:cubicBezTo>
                  <a:cubicBezTo>
                    <a:pt x="375" y="278"/>
                    <a:pt x="377" y="275"/>
                    <a:pt x="379" y="272"/>
                  </a:cubicBezTo>
                  <a:cubicBezTo>
                    <a:pt x="383" y="263"/>
                    <a:pt x="386" y="248"/>
                    <a:pt x="378" y="240"/>
                  </a:cubicBezTo>
                  <a:cubicBezTo>
                    <a:pt x="366" y="229"/>
                    <a:pt x="333" y="224"/>
                    <a:pt x="297" y="206"/>
                  </a:cubicBezTo>
                  <a:cubicBezTo>
                    <a:pt x="261" y="189"/>
                    <a:pt x="234" y="183"/>
                    <a:pt x="226" y="181"/>
                  </a:cubicBezTo>
                  <a:cubicBezTo>
                    <a:pt x="218" y="179"/>
                    <a:pt x="174" y="121"/>
                    <a:pt x="151" y="107"/>
                  </a:cubicBezTo>
                  <a:cubicBezTo>
                    <a:pt x="127" y="94"/>
                    <a:pt x="85" y="31"/>
                    <a:pt x="76" y="23"/>
                  </a:cubicBezTo>
                  <a:cubicBezTo>
                    <a:pt x="67" y="15"/>
                    <a:pt x="45" y="0"/>
                    <a:pt x="24" y="7"/>
                  </a:cubicBezTo>
                  <a:cubicBezTo>
                    <a:pt x="4" y="15"/>
                    <a:pt x="0" y="30"/>
                    <a:pt x="1" y="40"/>
                  </a:cubicBezTo>
                  <a:close/>
                </a:path>
              </a:pathLst>
            </a:custGeom>
            <a:solidFill>
              <a:srgbClr val="4D4D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86" name="Freeform 84">
              <a:extLst>
                <a:ext uri="{FF2B5EF4-FFF2-40B4-BE49-F238E27FC236}">
                  <a16:creationId xmlns:a16="http://schemas.microsoft.com/office/drawing/2014/main" id="{91392D14-0A60-4BBE-853F-244355F6FE79}"/>
                </a:ext>
              </a:extLst>
            </p:cNvPr>
            <p:cNvSpPr>
              <a:spLocks/>
            </p:cNvSpPr>
            <p:nvPr/>
          </p:nvSpPr>
          <p:spPr bwMode="auto">
            <a:xfrm>
              <a:off x="4469964" y="7764534"/>
              <a:ext cx="386452" cy="2451200"/>
            </a:xfrm>
            <a:custGeom>
              <a:avLst/>
              <a:gdLst>
                <a:gd name="T0" fmla="*/ 0 w 111"/>
                <a:gd name="T1" fmla="*/ 704 h 704"/>
                <a:gd name="T2" fmla="*/ 9 w 111"/>
                <a:gd name="T3" fmla="*/ 704 h 704"/>
                <a:gd name="T4" fmla="*/ 86 w 111"/>
                <a:gd name="T5" fmla="*/ 319 h 704"/>
                <a:gd name="T6" fmla="*/ 74 w 111"/>
                <a:gd name="T7" fmla="*/ 0 h 704"/>
                <a:gd name="T8" fmla="*/ 74 w 111"/>
                <a:gd name="T9" fmla="*/ 41 h 704"/>
                <a:gd name="T10" fmla="*/ 75 w 111"/>
                <a:gd name="T11" fmla="*/ 314 h 704"/>
                <a:gd name="T12" fmla="*/ 14 w 111"/>
                <a:gd name="T13" fmla="*/ 447 h 704"/>
                <a:gd name="T14" fmla="*/ 11 w 111"/>
                <a:gd name="T15" fmla="*/ 542 h 704"/>
                <a:gd name="T16" fmla="*/ 0 w 111"/>
                <a:gd name="T17" fmla="*/ 704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704">
                  <a:moveTo>
                    <a:pt x="0" y="704"/>
                  </a:moveTo>
                  <a:cubicBezTo>
                    <a:pt x="9" y="704"/>
                    <a:pt x="9" y="704"/>
                    <a:pt x="9" y="704"/>
                  </a:cubicBezTo>
                  <a:cubicBezTo>
                    <a:pt x="23" y="513"/>
                    <a:pt x="60" y="390"/>
                    <a:pt x="86" y="319"/>
                  </a:cubicBezTo>
                  <a:cubicBezTo>
                    <a:pt x="111" y="248"/>
                    <a:pt x="74" y="3"/>
                    <a:pt x="74" y="0"/>
                  </a:cubicBezTo>
                  <a:cubicBezTo>
                    <a:pt x="74" y="19"/>
                    <a:pt x="75" y="34"/>
                    <a:pt x="74" y="41"/>
                  </a:cubicBezTo>
                  <a:cubicBezTo>
                    <a:pt x="72" y="70"/>
                    <a:pt x="78" y="275"/>
                    <a:pt x="75" y="314"/>
                  </a:cubicBezTo>
                  <a:cubicBezTo>
                    <a:pt x="72" y="353"/>
                    <a:pt x="22" y="420"/>
                    <a:pt x="14" y="447"/>
                  </a:cubicBezTo>
                  <a:cubicBezTo>
                    <a:pt x="5" y="474"/>
                    <a:pt x="11" y="512"/>
                    <a:pt x="11" y="542"/>
                  </a:cubicBezTo>
                  <a:cubicBezTo>
                    <a:pt x="11" y="572"/>
                    <a:pt x="0" y="704"/>
                    <a:pt x="0" y="704"/>
                  </a:cubicBezTo>
                  <a:close/>
                </a:path>
              </a:pathLst>
            </a:custGeom>
            <a:solidFill>
              <a:srgbClr val="696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87" name="Freeform 85">
              <a:extLst>
                <a:ext uri="{FF2B5EF4-FFF2-40B4-BE49-F238E27FC236}">
                  <a16:creationId xmlns:a16="http://schemas.microsoft.com/office/drawing/2014/main" id="{C0FFFB33-0883-4C47-8EEC-0F8A4D308F2C}"/>
                </a:ext>
              </a:extLst>
            </p:cNvPr>
            <p:cNvSpPr>
              <a:spLocks/>
            </p:cNvSpPr>
            <p:nvPr/>
          </p:nvSpPr>
          <p:spPr bwMode="auto">
            <a:xfrm>
              <a:off x="4653988" y="6792887"/>
              <a:ext cx="320203" cy="610960"/>
            </a:xfrm>
            <a:custGeom>
              <a:avLst/>
              <a:gdLst>
                <a:gd name="T0" fmla="*/ 25 w 92"/>
                <a:gd name="T1" fmla="*/ 162 h 175"/>
                <a:gd name="T2" fmla="*/ 36 w 92"/>
                <a:gd name="T3" fmla="*/ 164 h 175"/>
                <a:gd name="T4" fmla="*/ 92 w 92"/>
                <a:gd name="T5" fmla="*/ 175 h 175"/>
                <a:gd name="T6" fmla="*/ 92 w 92"/>
                <a:gd name="T7" fmla="*/ 175 h 175"/>
                <a:gd name="T8" fmla="*/ 7 w 92"/>
                <a:gd name="T9" fmla="*/ 0 h 175"/>
                <a:gd name="T10" fmla="*/ 2 w 92"/>
                <a:gd name="T11" fmla="*/ 130 h 175"/>
                <a:gd name="T12" fmla="*/ 25 w 92"/>
                <a:gd name="T13" fmla="*/ 162 h 175"/>
              </a:gdLst>
              <a:ahLst/>
              <a:cxnLst>
                <a:cxn ang="0">
                  <a:pos x="T0" y="T1"/>
                </a:cxn>
                <a:cxn ang="0">
                  <a:pos x="T2" y="T3"/>
                </a:cxn>
                <a:cxn ang="0">
                  <a:pos x="T4" y="T5"/>
                </a:cxn>
                <a:cxn ang="0">
                  <a:pos x="T6" y="T7"/>
                </a:cxn>
                <a:cxn ang="0">
                  <a:pos x="T8" y="T9"/>
                </a:cxn>
                <a:cxn ang="0">
                  <a:pos x="T10" y="T11"/>
                </a:cxn>
                <a:cxn ang="0">
                  <a:pos x="T12" y="T13"/>
                </a:cxn>
              </a:cxnLst>
              <a:rect l="0" t="0" r="r" b="b"/>
              <a:pathLst>
                <a:path w="92" h="175">
                  <a:moveTo>
                    <a:pt x="25" y="162"/>
                  </a:moveTo>
                  <a:cubicBezTo>
                    <a:pt x="28" y="163"/>
                    <a:pt x="32" y="164"/>
                    <a:pt x="36" y="164"/>
                  </a:cubicBezTo>
                  <a:cubicBezTo>
                    <a:pt x="52" y="168"/>
                    <a:pt x="72" y="172"/>
                    <a:pt x="92" y="175"/>
                  </a:cubicBezTo>
                  <a:cubicBezTo>
                    <a:pt x="92" y="175"/>
                    <a:pt x="92" y="175"/>
                    <a:pt x="92" y="175"/>
                  </a:cubicBezTo>
                  <a:cubicBezTo>
                    <a:pt x="18" y="151"/>
                    <a:pt x="8" y="4"/>
                    <a:pt x="7" y="0"/>
                  </a:cubicBezTo>
                  <a:cubicBezTo>
                    <a:pt x="8" y="49"/>
                    <a:pt x="7" y="96"/>
                    <a:pt x="2" y="130"/>
                  </a:cubicBezTo>
                  <a:cubicBezTo>
                    <a:pt x="0" y="145"/>
                    <a:pt x="10" y="159"/>
                    <a:pt x="25" y="162"/>
                  </a:cubicBezTo>
                  <a:close/>
                </a:path>
              </a:pathLst>
            </a:custGeom>
            <a:solidFill>
              <a:srgbClr val="373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sp>
          <p:nvSpPr>
            <p:cNvPr id="188" name="Freeform 86">
              <a:extLst>
                <a:ext uri="{FF2B5EF4-FFF2-40B4-BE49-F238E27FC236}">
                  <a16:creationId xmlns:a16="http://schemas.microsoft.com/office/drawing/2014/main" id="{7033BB9D-8E0F-4A6A-A4D6-11DE5413863A}"/>
                </a:ext>
              </a:extLst>
            </p:cNvPr>
            <p:cNvSpPr>
              <a:spLocks/>
            </p:cNvSpPr>
            <p:nvPr/>
          </p:nvSpPr>
          <p:spPr bwMode="auto">
            <a:xfrm>
              <a:off x="5272309" y="6531574"/>
              <a:ext cx="714013" cy="206107"/>
            </a:xfrm>
            <a:custGeom>
              <a:avLst/>
              <a:gdLst>
                <a:gd name="T0" fmla="*/ 0 w 206"/>
                <a:gd name="T1" fmla="*/ 0 h 59"/>
                <a:gd name="T2" fmla="*/ 0 w 206"/>
                <a:gd name="T3" fmla="*/ 0 h 59"/>
                <a:gd name="T4" fmla="*/ 14 w 206"/>
                <a:gd name="T5" fmla="*/ 8 h 59"/>
                <a:gd name="T6" fmla="*/ 134 w 206"/>
                <a:gd name="T7" fmla="*/ 47 h 59"/>
                <a:gd name="T8" fmla="*/ 201 w 206"/>
                <a:gd name="T9" fmla="*/ 58 h 59"/>
                <a:gd name="T10" fmla="*/ 206 w 206"/>
                <a:gd name="T11" fmla="*/ 52 h 59"/>
                <a:gd name="T12" fmla="*/ 0 w 206"/>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206" h="59">
                  <a:moveTo>
                    <a:pt x="0" y="0"/>
                  </a:moveTo>
                  <a:cubicBezTo>
                    <a:pt x="0" y="0"/>
                    <a:pt x="0" y="0"/>
                    <a:pt x="0" y="0"/>
                  </a:cubicBezTo>
                  <a:cubicBezTo>
                    <a:pt x="5" y="3"/>
                    <a:pt x="9" y="6"/>
                    <a:pt x="14" y="8"/>
                  </a:cubicBezTo>
                  <a:cubicBezTo>
                    <a:pt x="35" y="21"/>
                    <a:pt x="86" y="38"/>
                    <a:pt x="134" y="47"/>
                  </a:cubicBezTo>
                  <a:cubicBezTo>
                    <a:pt x="182" y="56"/>
                    <a:pt x="197" y="59"/>
                    <a:pt x="201" y="58"/>
                  </a:cubicBezTo>
                  <a:cubicBezTo>
                    <a:pt x="202" y="58"/>
                    <a:pt x="204" y="55"/>
                    <a:pt x="206" y="52"/>
                  </a:cubicBezTo>
                  <a:cubicBezTo>
                    <a:pt x="206" y="52"/>
                    <a:pt x="102" y="44"/>
                    <a:pt x="0" y="0"/>
                  </a:cubicBezTo>
                  <a:close/>
                </a:path>
              </a:pathLst>
            </a:custGeom>
            <a:solidFill>
              <a:srgbClr val="3737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pPr defTabSz="228554">
                <a:defRPr/>
              </a:pPr>
              <a:endParaRPr lang="nb-NO" sz="900">
                <a:solidFill>
                  <a:srgbClr val="172144"/>
                </a:solidFill>
                <a:latin typeface="Microsoft JhengHei UI" panose="020B0604030504040204" pitchFamily="34" charset="-120"/>
                <a:ea typeface="Microsoft JhengHei UI" panose="020B0604030504040204" pitchFamily="34" charset="-120"/>
              </a:endParaRPr>
            </a:p>
          </p:txBody>
        </p:sp>
      </p:grpSp>
      <p:pic>
        <p:nvPicPr>
          <p:cNvPr id="189" name="Bilde 188"/>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659772" y="1242359"/>
            <a:ext cx="653063" cy="650379"/>
          </a:xfrm>
          <a:prstGeom prst="rect">
            <a:avLst/>
          </a:prstGeom>
        </p:spPr>
      </p:pic>
      <p:pic>
        <p:nvPicPr>
          <p:cNvPr id="190" name="Bilde 189"/>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4335241" y="2160885"/>
            <a:ext cx="460484" cy="458591"/>
          </a:xfrm>
          <a:prstGeom prst="rect">
            <a:avLst/>
          </a:prstGeom>
        </p:spPr>
      </p:pic>
      <p:pic>
        <p:nvPicPr>
          <p:cNvPr id="191" name="Bilde 190"/>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4891274" y="3281498"/>
            <a:ext cx="539497" cy="537280"/>
          </a:xfrm>
          <a:prstGeom prst="rect">
            <a:avLst/>
          </a:prstGeom>
        </p:spPr>
      </p:pic>
      <p:pic>
        <p:nvPicPr>
          <p:cNvPr id="192" name="Bilde 191"/>
          <p:cNvPicPr>
            <a:picLocks noChangeAspect="1"/>
          </p:cNvPicPr>
          <p:nvPr/>
        </p:nvPicPr>
        <p:blipFill rotWithShape="1">
          <a:blip r:embed="rId3" cstate="screen">
            <a:lum bright="70000" contrast="-70000"/>
            <a:extLst>
              <a:ext uri="{28A0092B-C50C-407E-A947-70E740481C1C}">
                <a14:useLocalDpi xmlns:a14="http://schemas.microsoft.com/office/drawing/2010/main" val="0"/>
              </a:ext>
            </a:extLst>
          </a:blip>
          <a:srcRect/>
          <a:stretch/>
        </p:blipFill>
        <p:spPr>
          <a:xfrm>
            <a:off x="3490681" y="1650773"/>
            <a:ext cx="653063" cy="650379"/>
          </a:xfrm>
          <a:prstGeom prst="rect">
            <a:avLst/>
          </a:prstGeom>
        </p:spPr>
      </p:pic>
      <p:pic>
        <p:nvPicPr>
          <p:cNvPr id="193" name="Bilde 192"/>
          <p:cNvPicPr>
            <a:picLocks noChangeAspect="1"/>
          </p:cNvPicPr>
          <p:nvPr/>
        </p:nvPicPr>
        <p:blipFill rotWithShape="1">
          <a:blip r:embed="rId6" cstate="screen">
            <a:lum bright="70000" contrast="-70000"/>
            <a:extLst>
              <a:ext uri="{28A0092B-C50C-407E-A947-70E740481C1C}">
                <a14:useLocalDpi xmlns:a14="http://schemas.microsoft.com/office/drawing/2010/main" val="0"/>
              </a:ext>
            </a:extLst>
          </a:blip>
          <a:srcRect/>
          <a:stretch/>
        </p:blipFill>
        <p:spPr>
          <a:xfrm>
            <a:off x="2961833" y="1621474"/>
            <a:ext cx="364899" cy="363399"/>
          </a:xfrm>
          <a:prstGeom prst="rect">
            <a:avLst/>
          </a:prstGeom>
        </p:spPr>
      </p:pic>
      <p:pic>
        <p:nvPicPr>
          <p:cNvPr id="194" name="Bilde 193"/>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2404565" y="1668819"/>
            <a:ext cx="354475" cy="353018"/>
          </a:xfrm>
          <a:prstGeom prst="rect">
            <a:avLst/>
          </a:prstGeom>
        </p:spPr>
      </p:pic>
      <p:pic>
        <p:nvPicPr>
          <p:cNvPr id="195" name="Bilde 194"/>
          <p:cNvPicPr>
            <a:picLocks noChangeAspect="1"/>
          </p:cNvPicPr>
          <p:nvPr/>
        </p:nvPicPr>
        <p:blipFill rotWithShape="1">
          <a:blip r:embed="rId8" cstate="screen">
            <a:lum bright="70000" contrast="-70000"/>
            <a:extLst>
              <a:ext uri="{28A0092B-C50C-407E-A947-70E740481C1C}">
                <a14:useLocalDpi xmlns:a14="http://schemas.microsoft.com/office/drawing/2010/main" val="0"/>
              </a:ext>
            </a:extLst>
          </a:blip>
          <a:srcRect/>
          <a:stretch/>
        </p:blipFill>
        <p:spPr>
          <a:xfrm>
            <a:off x="4611328" y="2655350"/>
            <a:ext cx="607844" cy="605346"/>
          </a:xfrm>
          <a:prstGeom prst="rect">
            <a:avLst/>
          </a:prstGeom>
        </p:spPr>
      </p:pic>
      <p:pic>
        <p:nvPicPr>
          <p:cNvPr id="196" name="Bilde 195"/>
          <p:cNvPicPr>
            <a:picLocks noChangeAspect="1"/>
          </p:cNvPicPr>
          <p:nvPr/>
        </p:nvPicPr>
        <p:blipFill rotWithShape="1">
          <a:blip r:embed="rId6" cstate="screen">
            <a:lum bright="70000" contrast="-70000"/>
            <a:extLst>
              <a:ext uri="{28A0092B-C50C-407E-A947-70E740481C1C}">
                <a14:useLocalDpi xmlns:a14="http://schemas.microsoft.com/office/drawing/2010/main" val="0"/>
              </a:ext>
            </a:extLst>
          </a:blip>
          <a:srcRect/>
          <a:stretch/>
        </p:blipFill>
        <p:spPr>
          <a:xfrm>
            <a:off x="4487984" y="3731788"/>
            <a:ext cx="364899" cy="363399"/>
          </a:xfrm>
          <a:prstGeom prst="rect">
            <a:avLst/>
          </a:prstGeom>
        </p:spPr>
      </p:pic>
    </p:spTree>
    <p:extLst>
      <p:ext uri="{BB962C8B-B14F-4D97-AF65-F5344CB8AC3E}">
        <p14:creationId xmlns:p14="http://schemas.microsoft.com/office/powerpoint/2010/main" val="13565981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100"/>
                                  </p:stCondLst>
                                  <p:childTnLst>
                                    <p:set>
                                      <p:cBhvr>
                                        <p:cTn id="6" dur="1" fill="hold">
                                          <p:stCondLst>
                                            <p:cond delay="0"/>
                                          </p:stCondLst>
                                        </p:cTn>
                                        <p:tgtEl>
                                          <p:spTgt spid="105"/>
                                        </p:tgtEl>
                                        <p:attrNameLst>
                                          <p:attrName>style.visibility</p:attrName>
                                        </p:attrNameLst>
                                      </p:cBhvr>
                                      <p:to>
                                        <p:strVal val="visible"/>
                                      </p:to>
                                    </p:set>
                                    <p:anim calcmode="lin" valueType="num">
                                      <p:cBhvr additive="base">
                                        <p:cTn id="7" dur="1000" fill="hold"/>
                                        <p:tgtEl>
                                          <p:spTgt spid="105"/>
                                        </p:tgtEl>
                                        <p:attrNameLst>
                                          <p:attrName>ppt_x</p:attrName>
                                        </p:attrNameLst>
                                      </p:cBhvr>
                                      <p:tavLst>
                                        <p:tav tm="0">
                                          <p:val>
                                            <p:strVal val="#ppt_x"/>
                                          </p:val>
                                        </p:tav>
                                        <p:tav tm="100000">
                                          <p:val>
                                            <p:strVal val="#ppt_x"/>
                                          </p:val>
                                        </p:tav>
                                      </p:tavLst>
                                    </p:anim>
                                    <p:anim calcmode="lin" valueType="num">
                                      <p:cBhvr additive="base">
                                        <p:cTn id="8" dur="1000" fill="hold"/>
                                        <p:tgtEl>
                                          <p:spTgt spid="105"/>
                                        </p:tgtEl>
                                        <p:attrNameLst>
                                          <p:attrName>ppt_y</p:attrName>
                                        </p:attrNameLst>
                                      </p:cBhvr>
                                      <p:tavLst>
                                        <p:tav tm="0">
                                          <p:val>
                                            <p:strVal val="1+#ppt_h/2"/>
                                          </p:val>
                                        </p:tav>
                                        <p:tav tm="100000">
                                          <p:val>
                                            <p:strVal val="#ppt_y"/>
                                          </p:val>
                                        </p:tav>
                                      </p:tavLst>
                                    </p:anim>
                                  </p:childTnLst>
                                </p:cTn>
                              </p:par>
                              <p:par>
                                <p:cTn id="9" presetID="31" presetClass="entr" presetSubtype="0" fill="hold" nodeType="withEffect">
                                  <p:stCondLst>
                                    <p:cond delay="100"/>
                                  </p:stCondLst>
                                  <p:childTnLst>
                                    <p:set>
                                      <p:cBhvr>
                                        <p:cTn id="10" dur="1" fill="hold">
                                          <p:stCondLst>
                                            <p:cond delay="0"/>
                                          </p:stCondLst>
                                        </p:cTn>
                                        <p:tgtEl>
                                          <p:spTgt spid="189"/>
                                        </p:tgtEl>
                                        <p:attrNameLst>
                                          <p:attrName>style.visibility</p:attrName>
                                        </p:attrNameLst>
                                      </p:cBhvr>
                                      <p:to>
                                        <p:strVal val="visible"/>
                                      </p:to>
                                    </p:set>
                                    <p:anim calcmode="lin" valueType="num">
                                      <p:cBhvr>
                                        <p:cTn id="11" dur="1000" fill="hold"/>
                                        <p:tgtEl>
                                          <p:spTgt spid="189"/>
                                        </p:tgtEl>
                                        <p:attrNameLst>
                                          <p:attrName>ppt_w</p:attrName>
                                        </p:attrNameLst>
                                      </p:cBhvr>
                                      <p:tavLst>
                                        <p:tav tm="0">
                                          <p:val>
                                            <p:fltVal val="0"/>
                                          </p:val>
                                        </p:tav>
                                        <p:tav tm="100000">
                                          <p:val>
                                            <p:strVal val="#ppt_w"/>
                                          </p:val>
                                        </p:tav>
                                      </p:tavLst>
                                    </p:anim>
                                    <p:anim calcmode="lin" valueType="num">
                                      <p:cBhvr>
                                        <p:cTn id="12" dur="1000" fill="hold"/>
                                        <p:tgtEl>
                                          <p:spTgt spid="189"/>
                                        </p:tgtEl>
                                        <p:attrNameLst>
                                          <p:attrName>ppt_h</p:attrName>
                                        </p:attrNameLst>
                                      </p:cBhvr>
                                      <p:tavLst>
                                        <p:tav tm="0">
                                          <p:val>
                                            <p:fltVal val="0"/>
                                          </p:val>
                                        </p:tav>
                                        <p:tav tm="100000">
                                          <p:val>
                                            <p:strVal val="#ppt_h"/>
                                          </p:val>
                                        </p:tav>
                                      </p:tavLst>
                                    </p:anim>
                                    <p:anim calcmode="lin" valueType="num">
                                      <p:cBhvr>
                                        <p:cTn id="13" dur="1000" fill="hold"/>
                                        <p:tgtEl>
                                          <p:spTgt spid="189"/>
                                        </p:tgtEl>
                                        <p:attrNameLst>
                                          <p:attrName>style.rotation</p:attrName>
                                        </p:attrNameLst>
                                      </p:cBhvr>
                                      <p:tavLst>
                                        <p:tav tm="0">
                                          <p:val>
                                            <p:fltVal val="90"/>
                                          </p:val>
                                        </p:tav>
                                        <p:tav tm="100000">
                                          <p:val>
                                            <p:fltVal val="0"/>
                                          </p:val>
                                        </p:tav>
                                      </p:tavLst>
                                    </p:anim>
                                    <p:animEffect transition="in" filter="fade">
                                      <p:cBhvr>
                                        <p:cTn id="14" dur="1000"/>
                                        <p:tgtEl>
                                          <p:spTgt spid="189"/>
                                        </p:tgtEl>
                                      </p:cBhvr>
                                    </p:animEffect>
                                  </p:childTnLst>
                                </p:cTn>
                              </p:par>
                              <p:par>
                                <p:cTn id="15" presetID="31" presetClass="entr" presetSubtype="0" fill="hold" nodeType="withEffect">
                                  <p:stCondLst>
                                    <p:cond delay="100"/>
                                  </p:stCondLst>
                                  <p:childTnLst>
                                    <p:set>
                                      <p:cBhvr>
                                        <p:cTn id="16" dur="1" fill="hold">
                                          <p:stCondLst>
                                            <p:cond delay="0"/>
                                          </p:stCondLst>
                                        </p:cTn>
                                        <p:tgtEl>
                                          <p:spTgt spid="104"/>
                                        </p:tgtEl>
                                        <p:attrNameLst>
                                          <p:attrName>style.visibility</p:attrName>
                                        </p:attrNameLst>
                                      </p:cBhvr>
                                      <p:to>
                                        <p:strVal val="visible"/>
                                      </p:to>
                                    </p:set>
                                    <p:anim calcmode="lin" valueType="num">
                                      <p:cBhvr>
                                        <p:cTn id="17" dur="1000" fill="hold"/>
                                        <p:tgtEl>
                                          <p:spTgt spid="104"/>
                                        </p:tgtEl>
                                        <p:attrNameLst>
                                          <p:attrName>ppt_w</p:attrName>
                                        </p:attrNameLst>
                                      </p:cBhvr>
                                      <p:tavLst>
                                        <p:tav tm="0">
                                          <p:val>
                                            <p:fltVal val="0"/>
                                          </p:val>
                                        </p:tav>
                                        <p:tav tm="100000">
                                          <p:val>
                                            <p:strVal val="#ppt_w"/>
                                          </p:val>
                                        </p:tav>
                                      </p:tavLst>
                                    </p:anim>
                                    <p:anim calcmode="lin" valueType="num">
                                      <p:cBhvr>
                                        <p:cTn id="18" dur="1000" fill="hold"/>
                                        <p:tgtEl>
                                          <p:spTgt spid="104"/>
                                        </p:tgtEl>
                                        <p:attrNameLst>
                                          <p:attrName>ppt_h</p:attrName>
                                        </p:attrNameLst>
                                      </p:cBhvr>
                                      <p:tavLst>
                                        <p:tav tm="0">
                                          <p:val>
                                            <p:fltVal val="0"/>
                                          </p:val>
                                        </p:tav>
                                        <p:tav tm="100000">
                                          <p:val>
                                            <p:strVal val="#ppt_h"/>
                                          </p:val>
                                        </p:tav>
                                      </p:tavLst>
                                    </p:anim>
                                    <p:anim calcmode="lin" valueType="num">
                                      <p:cBhvr>
                                        <p:cTn id="19" dur="1000" fill="hold"/>
                                        <p:tgtEl>
                                          <p:spTgt spid="104"/>
                                        </p:tgtEl>
                                        <p:attrNameLst>
                                          <p:attrName>style.rotation</p:attrName>
                                        </p:attrNameLst>
                                      </p:cBhvr>
                                      <p:tavLst>
                                        <p:tav tm="0">
                                          <p:val>
                                            <p:fltVal val="90"/>
                                          </p:val>
                                        </p:tav>
                                        <p:tav tm="100000">
                                          <p:val>
                                            <p:fltVal val="0"/>
                                          </p:val>
                                        </p:tav>
                                      </p:tavLst>
                                    </p:anim>
                                    <p:animEffect transition="in" filter="fade">
                                      <p:cBhvr>
                                        <p:cTn id="20" dur="1000"/>
                                        <p:tgtEl>
                                          <p:spTgt spid="104"/>
                                        </p:tgtEl>
                                      </p:cBhvr>
                                    </p:animEffect>
                                  </p:childTnLst>
                                </p:cTn>
                              </p:par>
                              <p:par>
                                <p:cTn id="21" presetID="2" presetClass="entr" presetSubtype="4" decel="100000" fill="hold" nodeType="withEffect">
                                  <p:stCondLst>
                                    <p:cond delay="200"/>
                                  </p:stCondLst>
                                  <p:childTnLst>
                                    <p:set>
                                      <p:cBhvr>
                                        <p:cTn id="22" dur="1" fill="hold">
                                          <p:stCondLst>
                                            <p:cond delay="0"/>
                                          </p:stCondLst>
                                        </p:cTn>
                                        <p:tgtEl>
                                          <p:spTgt spid="140"/>
                                        </p:tgtEl>
                                        <p:attrNameLst>
                                          <p:attrName>style.visibility</p:attrName>
                                        </p:attrNameLst>
                                      </p:cBhvr>
                                      <p:to>
                                        <p:strVal val="visible"/>
                                      </p:to>
                                    </p:set>
                                    <p:anim calcmode="lin" valueType="num">
                                      <p:cBhvr additive="base">
                                        <p:cTn id="23" dur="1000" fill="hold"/>
                                        <p:tgtEl>
                                          <p:spTgt spid="140"/>
                                        </p:tgtEl>
                                        <p:attrNameLst>
                                          <p:attrName>ppt_x</p:attrName>
                                        </p:attrNameLst>
                                      </p:cBhvr>
                                      <p:tavLst>
                                        <p:tav tm="0">
                                          <p:val>
                                            <p:strVal val="#ppt_x"/>
                                          </p:val>
                                        </p:tav>
                                        <p:tav tm="100000">
                                          <p:val>
                                            <p:strVal val="#ppt_x"/>
                                          </p:val>
                                        </p:tav>
                                      </p:tavLst>
                                    </p:anim>
                                    <p:anim calcmode="lin" valueType="num">
                                      <p:cBhvr additive="base">
                                        <p:cTn id="24" dur="1000" fill="hold"/>
                                        <p:tgtEl>
                                          <p:spTgt spid="140"/>
                                        </p:tgtEl>
                                        <p:attrNameLst>
                                          <p:attrName>ppt_y</p:attrName>
                                        </p:attrNameLst>
                                      </p:cBhvr>
                                      <p:tavLst>
                                        <p:tav tm="0">
                                          <p:val>
                                            <p:strVal val="1+#ppt_h/2"/>
                                          </p:val>
                                        </p:tav>
                                        <p:tav tm="100000">
                                          <p:val>
                                            <p:strVal val="#ppt_y"/>
                                          </p:val>
                                        </p:tav>
                                      </p:tavLst>
                                    </p:anim>
                                  </p:childTnLst>
                                </p:cTn>
                              </p:par>
                              <p:par>
                                <p:cTn id="25" presetID="31" presetClass="entr" presetSubtype="0" fill="hold" nodeType="withEffect">
                                  <p:stCondLst>
                                    <p:cond delay="200"/>
                                  </p:stCondLst>
                                  <p:childTnLst>
                                    <p:set>
                                      <p:cBhvr>
                                        <p:cTn id="26" dur="1" fill="hold">
                                          <p:stCondLst>
                                            <p:cond delay="0"/>
                                          </p:stCondLst>
                                        </p:cTn>
                                        <p:tgtEl>
                                          <p:spTgt spid="190"/>
                                        </p:tgtEl>
                                        <p:attrNameLst>
                                          <p:attrName>style.visibility</p:attrName>
                                        </p:attrNameLst>
                                      </p:cBhvr>
                                      <p:to>
                                        <p:strVal val="visible"/>
                                      </p:to>
                                    </p:set>
                                    <p:anim calcmode="lin" valueType="num">
                                      <p:cBhvr>
                                        <p:cTn id="27" dur="750" fill="hold"/>
                                        <p:tgtEl>
                                          <p:spTgt spid="190"/>
                                        </p:tgtEl>
                                        <p:attrNameLst>
                                          <p:attrName>ppt_w</p:attrName>
                                        </p:attrNameLst>
                                      </p:cBhvr>
                                      <p:tavLst>
                                        <p:tav tm="0">
                                          <p:val>
                                            <p:fltVal val="0"/>
                                          </p:val>
                                        </p:tav>
                                        <p:tav tm="100000">
                                          <p:val>
                                            <p:strVal val="#ppt_w"/>
                                          </p:val>
                                        </p:tav>
                                      </p:tavLst>
                                    </p:anim>
                                    <p:anim calcmode="lin" valueType="num">
                                      <p:cBhvr>
                                        <p:cTn id="28" dur="750" fill="hold"/>
                                        <p:tgtEl>
                                          <p:spTgt spid="190"/>
                                        </p:tgtEl>
                                        <p:attrNameLst>
                                          <p:attrName>ppt_h</p:attrName>
                                        </p:attrNameLst>
                                      </p:cBhvr>
                                      <p:tavLst>
                                        <p:tav tm="0">
                                          <p:val>
                                            <p:fltVal val="0"/>
                                          </p:val>
                                        </p:tav>
                                        <p:tav tm="100000">
                                          <p:val>
                                            <p:strVal val="#ppt_h"/>
                                          </p:val>
                                        </p:tav>
                                      </p:tavLst>
                                    </p:anim>
                                    <p:anim calcmode="lin" valueType="num">
                                      <p:cBhvr>
                                        <p:cTn id="29" dur="750" fill="hold"/>
                                        <p:tgtEl>
                                          <p:spTgt spid="190"/>
                                        </p:tgtEl>
                                        <p:attrNameLst>
                                          <p:attrName>style.rotation</p:attrName>
                                        </p:attrNameLst>
                                      </p:cBhvr>
                                      <p:tavLst>
                                        <p:tav tm="0">
                                          <p:val>
                                            <p:fltVal val="90"/>
                                          </p:val>
                                        </p:tav>
                                        <p:tav tm="100000">
                                          <p:val>
                                            <p:fltVal val="0"/>
                                          </p:val>
                                        </p:tav>
                                      </p:tavLst>
                                    </p:anim>
                                    <p:animEffect transition="in" filter="fade">
                                      <p:cBhvr>
                                        <p:cTn id="30" dur="750"/>
                                        <p:tgtEl>
                                          <p:spTgt spid="190"/>
                                        </p:tgtEl>
                                      </p:cBhvr>
                                    </p:animEffect>
                                  </p:childTnLst>
                                </p:cTn>
                              </p:par>
                              <p:par>
                                <p:cTn id="31" presetID="31" presetClass="entr" presetSubtype="0" fill="hold" nodeType="withEffect">
                                  <p:stCondLst>
                                    <p:cond delay="200"/>
                                  </p:stCondLst>
                                  <p:childTnLst>
                                    <p:set>
                                      <p:cBhvr>
                                        <p:cTn id="32" dur="1" fill="hold">
                                          <p:stCondLst>
                                            <p:cond delay="0"/>
                                          </p:stCondLst>
                                        </p:cTn>
                                        <p:tgtEl>
                                          <p:spTgt spid="195"/>
                                        </p:tgtEl>
                                        <p:attrNameLst>
                                          <p:attrName>style.visibility</p:attrName>
                                        </p:attrNameLst>
                                      </p:cBhvr>
                                      <p:to>
                                        <p:strVal val="visible"/>
                                      </p:to>
                                    </p:set>
                                    <p:anim calcmode="lin" valueType="num">
                                      <p:cBhvr>
                                        <p:cTn id="33" dur="1000" fill="hold"/>
                                        <p:tgtEl>
                                          <p:spTgt spid="195"/>
                                        </p:tgtEl>
                                        <p:attrNameLst>
                                          <p:attrName>ppt_w</p:attrName>
                                        </p:attrNameLst>
                                      </p:cBhvr>
                                      <p:tavLst>
                                        <p:tav tm="0">
                                          <p:val>
                                            <p:fltVal val="0"/>
                                          </p:val>
                                        </p:tav>
                                        <p:tav tm="100000">
                                          <p:val>
                                            <p:strVal val="#ppt_w"/>
                                          </p:val>
                                        </p:tav>
                                      </p:tavLst>
                                    </p:anim>
                                    <p:anim calcmode="lin" valueType="num">
                                      <p:cBhvr>
                                        <p:cTn id="34" dur="1000" fill="hold"/>
                                        <p:tgtEl>
                                          <p:spTgt spid="195"/>
                                        </p:tgtEl>
                                        <p:attrNameLst>
                                          <p:attrName>ppt_h</p:attrName>
                                        </p:attrNameLst>
                                      </p:cBhvr>
                                      <p:tavLst>
                                        <p:tav tm="0">
                                          <p:val>
                                            <p:fltVal val="0"/>
                                          </p:val>
                                        </p:tav>
                                        <p:tav tm="100000">
                                          <p:val>
                                            <p:strVal val="#ppt_h"/>
                                          </p:val>
                                        </p:tav>
                                      </p:tavLst>
                                    </p:anim>
                                    <p:anim calcmode="lin" valueType="num">
                                      <p:cBhvr>
                                        <p:cTn id="35" dur="1000" fill="hold"/>
                                        <p:tgtEl>
                                          <p:spTgt spid="195"/>
                                        </p:tgtEl>
                                        <p:attrNameLst>
                                          <p:attrName>style.rotation</p:attrName>
                                        </p:attrNameLst>
                                      </p:cBhvr>
                                      <p:tavLst>
                                        <p:tav tm="0">
                                          <p:val>
                                            <p:fltVal val="90"/>
                                          </p:val>
                                        </p:tav>
                                        <p:tav tm="100000">
                                          <p:val>
                                            <p:fltVal val="0"/>
                                          </p:val>
                                        </p:tav>
                                      </p:tavLst>
                                    </p:anim>
                                    <p:animEffect transition="in" filter="fade">
                                      <p:cBhvr>
                                        <p:cTn id="36" dur="1000"/>
                                        <p:tgtEl>
                                          <p:spTgt spid="195"/>
                                        </p:tgtEl>
                                      </p:cBhvr>
                                    </p:animEffect>
                                  </p:childTnLst>
                                </p:cTn>
                              </p:par>
                              <p:par>
                                <p:cTn id="37" presetID="2" presetClass="entr" presetSubtype="4" decel="100000" fill="hold" nodeType="withEffect">
                                  <p:stCondLst>
                                    <p:cond delay="300"/>
                                  </p:stCondLst>
                                  <p:childTnLst>
                                    <p:set>
                                      <p:cBhvr>
                                        <p:cTn id="38" dur="1" fill="hold">
                                          <p:stCondLst>
                                            <p:cond delay="0"/>
                                          </p:stCondLst>
                                        </p:cTn>
                                        <p:tgtEl>
                                          <p:spTgt spid="135"/>
                                        </p:tgtEl>
                                        <p:attrNameLst>
                                          <p:attrName>style.visibility</p:attrName>
                                        </p:attrNameLst>
                                      </p:cBhvr>
                                      <p:to>
                                        <p:strVal val="visible"/>
                                      </p:to>
                                    </p:set>
                                    <p:anim calcmode="lin" valueType="num">
                                      <p:cBhvr additive="base">
                                        <p:cTn id="39" dur="1000" fill="hold"/>
                                        <p:tgtEl>
                                          <p:spTgt spid="135"/>
                                        </p:tgtEl>
                                        <p:attrNameLst>
                                          <p:attrName>ppt_x</p:attrName>
                                        </p:attrNameLst>
                                      </p:cBhvr>
                                      <p:tavLst>
                                        <p:tav tm="0">
                                          <p:val>
                                            <p:strVal val="#ppt_x"/>
                                          </p:val>
                                        </p:tav>
                                        <p:tav tm="100000">
                                          <p:val>
                                            <p:strVal val="#ppt_x"/>
                                          </p:val>
                                        </p:tav>
                                      </p:tavLst>
                                    </p:anim>
                                    <p:anim calcmode="lin" valueType="num">
                                      <p:cBhvr additive="base">
                                        <p:cTn id="40" dur="1000" fill="hold"/>
                                        <p:tgtEl>
                                          <p:spTgt spid="135"/>
                                        </p:tgtEl>
                                        <p:attrNameLst>
                                          <p:attrName>ppt_y</p:attrName>
                                        </p:attrNameLst>
                                      </p:cBhvr>
                                      <p:tavLst>
                                        <p:tav tm="0">
                                          <p:val>
                                            <p:strVal val="1+#ppt_h/2"/>
                                          </p:val>
                                        </p:tav>
                                        <p:tav tm="100000">
                                          <p:val>
                                            <p:strVal val="#ppt_y"/>
                                          </p:val>
                                        </p:tav>
                                      </p:tavLst>
                                    </p:anim>
                                  </p:childTnLst>
                                </p:cTn>
                              </p:par>
                              <p:par>
                                <p:cTn id="41" presetID="31" presetClass="entr" presetSubtype="0" fill="hold" nodeType="withEffect">
                                  <p:stCondLst>
                                    <p:cond delay="300"/>
                                  </p:stCondLst>
                                  <p:childTnLst>
                                    <p:set>
                                      <p:cBhvr>
                                        <p:cTn id="42" dur="1" fill="hold">
                                          <p:stCondLst>
                                            <p:cond delay="0"/>
                                          </p:stCondLst>
                                        </p:cTn>
                                        <p:tgtEl>
                                          <p:spTgt spid="193"/>
                                        </p:tgtEl>
                                        <p:attrNameLst>
                                          <p:attrName>style.visibility</p:attrName>
                                        </p:attrNameLst>
                                      </p:cBhvr>
                                      <p:to>
                                        <p:strVal val="visible"/>
                                      </p:to>
                                    </p:set>
                                    <p:anim calcmode="lin" valueType="num">
                                      <p:cBhvr>
                                        <p:cTn id="43" dur="1000" fill="hold"/>
                                        <p:tgtEl>
                                          <p:spTgt spid="193"/>
                                        </p:tgtEl>
                                        <p:attrNameLst>
                                          <p:attrName>ppt_w</p:attrName>
                                        </p:attrNameLst>
                                      </p:cBhvr>
                                      <p:tavLst>
                                        <p:tav tm="0">
                                          <p:val>
                                            <p:fltVal val="0"/>
                                          </p:val>
                                        </p:tav>
                                        <p:tav tm="100000">
                                          <p:val>
                                            <p:strVal val="#ppt_w"/>
                                          </p:val>
                                        </p:tav>
                                      </p:tavLst>
                                    </p:anim>
                                    <p:anim calcmode="lin" valueType="num">
                                      <p:cBhvr>
                                        <p:cTn id="44" dur="1000" fill="hold"/>
                                        <p:tgtEl>
                                          <p:spTgt spid="193"/>
                                        </p:tgtEl>
                                        <p:attrNameLst>
                                          <p:attrName>ppt_h</p:attrName>
                                        </p:attrNameLst>
                                      </p:cBhvr>
                                      <p:tavLst>
                                        <p:tav tm="0">
                                          <p:val>
                                            <p:fltVal val="0"/>
                                          </p:val>
                                        </p:tav>
                                        <p:tav tm="100000">
                                          <p:val>
                                            <p:strVal val="#ppt_h"/>
                                          </p:val>
                                        </p:tav>
                                      </p:tavLst>
                                    </p:anim>
                                    <p:anim calcmode="lin" valueType="num">
                                      <p:cBhvr>
                                        <p:cTn id="45" dur="1000" fill="hold"/>
                                        <p:tgtEl>
                                          <p:spTgt spid="193"/>
                                        </p:tgtEl>
                                        <p:attrNameLst>
                                          <p:attrName>style.rotation</p:attrName>
                                        </p:attrNameLst>
                                      </p:cBhvr>
                                      <p:tavLst>
                                        <p:tav tm="0">
                                          <p:val>
                                            <p:fltVal val="90"/>
                                          </p:val>
                                        </p:tav>
                                        <p:tav tm="100000">
                                          <p:val>
                                            <p:fltVal val="0"/>
                                          </p:val>
                                        </p:tav>
                                      </p:tavLst>
                                    </p:anim>
                                    <p:animEffect transition="in" filter="fade">
                                      <p:cBhvr>
                                        <p:cTn id="46" dur="1000"/>
                                        <p:tgtEl>
                                          <p:spTgt spid="193"/>
                                        </p:tgtEl>
                                      </p:cBhvr>
                                    </p:animEffect>
                                  </p:childTnLst>
                                </p:cTn>
                              </p:par>
                              <p:par>
                                <p:cTn id="47" presetID="2" presetClass="entr" presetSubtype="4" decel="100000" fill="hold" nodeType="withEffect">
                                  <p:stCondLst>
                                    <p:cond delay="400"/>
                                  </p:stCondLst>
                                  <p:childTnLst>
                                    <p:set>
                                      <p:cBhvr>
                                        <p:cTn id="48" dur="1" fill="hold">
                                          <p:stCondLst>
                                            <p:cond delay="0"/>
                                          </p:stCondLst>
                                        </p:cTn>
                                        <p:tgtEl>
                                          <p:spTgt spid="106"/>
                                        </p:tgtEl>
                                        <p:attrNameLst>
                                          <p:attrName>style.visibility</p:attrName>
                                        </p:attrNameLst>
                                      </p:cBhvr>
                                      <p:to>
                                        <p:strVal val="visible"/>
                                      </p:to>
                                    </p:set>
                                    <p:anim calcmode="lin" valueType="num">
                                      <p:cBhvr additive="base">
                                        <p:cTn id="49" dur="750" fill="hold"/>
                                        <p:tgtEl>
                                          <p:spTgt spid="106"/>
                                        </p:tgtEl>
                                        <p:attrNameLst>
                                          <p:attrName>ppt_x</p:attrName>
                                        </p:attrNameLst>
                                      </p:cBhvr>
                                      <p:tavLst>
                                        <p:tav tm="0">
                                          <p:val>
                                            <p:strVal val="#ppt_x"/>
                                          </p:val>
                                        </p:tav>
                                        <p:tav tm="100000">
                                          <p:val>
                                            <p:strVal val="#ppt_x"/>
                                          </p:val>
                                        </p:tav>
                                      </p:tavLst>
                                    </p:anim>
                                    <p:anim calcmode="lin" valueType="num">
                                      <p:cBhvr additive="base">
                                        <p:cTn id="50" dur="750" fill="hold"/>
                                        <p:tgtEl>
                                          <p:spTgt spid="106"/>
                                        </p:tgtEl>
                                        <p:attrNameLst>
                                          <p:attrName>ppt_y</p:attrName>
                                        </p:attrNameLst>
                                      </p:cBhvr>
                                      <p:tavLst>
                                        <p:tav tm="0">
                                          <p:val>
                                            <p:strVal val="1+#ppt_h/2"/>
                                          </p:val>
                                        </p:tav>
                                        <p:tav tm="100000">
                                          <p:val>
                                            <p:strVal val="#ppt_y"/>
                                          </p:val>
                                        </p:tav>
                                      </p:tavLst>
                                    </p:anim>
                                  </p:childTnLst>
                                </p:cTn>
                              </p:par>
                              <p:par>
                                <p:cTn id="51" presetID="31" presetClass="entr" presetSubtype="0" fill="hold" nodeType="withEffect">
                                  <p:stCondLst>
                                    <p:cond delay="400"/>
                                  </p:stCondLst>
                                  <p:childTnLst>
                                    <p:set>
                                      <p:cBhvr>
                                        <p:cTn id="52" dur="1" fill="hold">
                                          <p:stCondLst>
                                            <p:cond delay="0"/>
                                          </p:stCondLst>
                                        </p:cTn>
                                        <p:tgtEl>
                                          <p:spTgt spid="103"/>
                                        </p:tgtEl>
                                        <p:attrNameLst>
                                          <p:attrName>style.visibility</p:attrName>
                                        </p:attrNameLst>
                                      </p:cBhvr>
                                      <p:to>
                                        <p:strVal val="visible"/>
                                      </p:to>
                                    </p:set>
                                    <p:anim calcmode="lin" valueType="num">
                                      <p:cBhvr>
                                        <p:cTn id="53" dur="1000" fill="hold"/>
                                        <p:tgtEl>
                                          <p:spTgt spid="103"/>
                                        </p:tgtEl>
                                        <p:attrNameLst>
                                          <p:attrName>ppt_w</p:attrName>
                                        </p:attrNameLst>
                                      </p:cBhvr>
                                      <p:tavLst>
                                        <p:tav tm="0">
                                          <p:val>
                                            <p:fltVal val="0"/>
                                          </p:val>
                                        </p:tav>
                                        <p:tav tm="100000">
                                          <p:val>
                                            <p:strVal val="#ppt_w"/>
                                          </p:val>
                                        </p:tav>
                                      </p:tavLst>
                                    </p:anim>
                                    <p:anim calcmode="lin" valueType="num">
                                      <p:cBhvr>
                                        <p:cTn id="54" dur="1000" fill="hold"/>
                                        <p:tgtEl>
                                          <p:spTgt spid="103"/>
                                        </p:tgtEl>
                                        <p:attrNameLst>
                                          <p:attrName>ppt_h</p:attrName>
                                        </p:attrNameLst>
                                      </p:cBhvr>
                                      <p:tavLst>
                                        <p:tav tm="0">
                                          <p:val>
                                            <p:fltVal val="0"/>
                                          </p:val>
                                        </p:tav>
                                        <p:tav tm="100000">
                                          <p:val>
                                            <p:strVal val="#ppt_h"/>
                                          </p:val>
                                        </p:tav>
                                      </p:tavLst>
                                    </p:anim>
                                    <p:anim calcmode="lin" valueType="num">
                                      <p:cBhvr>
                                        <p:cTn id="55" dur="1000" fill="hold"/>
                                        <p:tgtEl>
                                          <p:spTgt spid="103"/>
                                        </p:tgtEl>
                                        <p:attrNameLst>
                                          <p:attrName>style.rotation</p:attrName>
                                        </p:attrNameLst>
                                      </p:cBhvr>
                                      <p:tavLst>
                                        <p:tav tm="0">
                                          <p:val>
                                            <p:fltVal val="90"/>
                                          </p:val>
                                        </p:tav>
                                        <p:tav tm="100000">
                                          <p:val>
                                            <p:fltVal val="0"/>
                                          </p:val>
                                        </p:tav>
                                      </p:tavLst>
                                    </p:anim>
                                    <p:animEffect transition="in" filter="fade">
                                      <p:cBhvr>
                                        <p:cTn id="56" dur="1000"/>
                                        <p:tgtEl>
                                          <p:spTgt spid="103"/>
                                        </p:tgtEl>
                                      </p:cBhvr>
                                    </p:animEffect>
                                  </p:childTnLst>
                                </p:cTn>
                              </p:par>
                              <p:par>
                                <p:cTn id="57" presetID="31" presetClass="entr" presetSubtype="0" fill="hold" nodeType="withEffect">
                                  <p:stCondLst>
                                    <p:cond delay="0"/>
                                  </p:stCondLst>
                                  <p:childTnLst>
                                    <p:set>
                                      <p:cBhvr>
                                        <p:cTn id="58" dur="1" fill="hold">
                                          <p:stCondLst>
                                            <p:cond delay="0"/>
                                          </p:stCondLst>
                                        </p:cTn>
                                        <p:tgtEl>
                                          <p:spTgt spid="192"/>
                                        </p:tgtEl>
                                        <p:attrNameLst>
                                          <p:attrName>style.visibility</p:attrName>
                                        </p:attrNameLst>
                                      </p:cBhvr>
                                      <p:to>
                                        <p:strVal val="visible"/>
                                      </p:to>
                                    </p:set>
                                    <p:anim calcmode="lin" valueType="num">
                                      <p:cBhvr>
                                        <p:cTn id="59" dur="1000" fill="hold"/>
                                        <p:tgtEl>
                                          <p:spTgt spid="192"/>
                                        </p:tgtEl>
                                        <p:attrNameLst>
                                          <p:attrName>ppt_w</p:attrName>
                                        </p:attrNameLst>
                                      </p:cBhvr>
                                      <p:tavLst>
                                        <p:tav tm="0">
                                          <p:val>
                                            <p:fltVal val="0"/>
                                          </p:val>
                                        </p:tav>
                                        <p:tav tm="100000">
                                          <p:val>
                                            <p:strVal val="#ppt_w"/>
                                          </p:val>
                                        </p:tav>
                                      </p:tavLst>
                                    </p:anim>
                                    <p:anim calcmode="lin" valueType="num">
                                      <p:cBhvr>
                                        <p:cTn id="60" dur="1000" fill="hold"/>
                                        <p:tgtEl>
                                          <p:spTgt spid="192"/>
                                        </p:tgtEl>
                                        <p:attrNameLst>
                                          <p:attrName>ppt_h</p:attrName>
                                        </p:attrNameLst>
                                      </p:cBhvr>
                                      <p:tavLst>
                                        <p:tav tm="0">
                                          <p:val>
                                            <p:fltVal val="0"/>
                                          </p:val>
                                        </p:tav>
                                        <p:tav tm="100000">
                                          <p:val>
                                            <p:strVal val="#ppt_h"/>
                                          </p:val>
                                        </p:tav>
                                      </p:tavLst>
                                    </p:anim>
                                    <p:anim calcmode="lin" valueType="num">
                                      <p:cBhvr>
                                        <p:cTn id="61" dur="1000" fill="hold"/>
                                        <p:tgtEl>
                                          <p:spTgt spid="192"/>
                                        </p:tgtEl>
                                        <p:attrNameLst>
                                          <p:attrName>style.rotation</p:attrName>
                                        </p:attrNameLst>
                                      </p:cBhvr>
                                      <p:tavLst>
                                        <p:tav tm="0">
                                          <p:val>
                                            <p:fltVal val="90"/>
                                          </p:val>
                                        </p:tav>
                                        <p:tav tm="100000">
                                          <p:val>
                                            <p:fltVal val="0"/>
                                          </p:val>
                                        </p:tav>
                                      </p:tavLst>
                                    </p:anim>
                                    <p:animEffect transition="in" filter="fade">
                                      <p:cBhvr>
                                        <p:cTn id="62" dur="1000"/>
                                        <p:tgtEl>
                                          <p:spTgt spid="192"/>
                                        </p:tgtEl>
                                      </p:cBhvr>
                                    </p:animEffect>
                                  </p:childTnLst>
                                </p:cTn>
                              </p:par>
                              <p:par>
                                <p:cTn id="63" presetID="31" presetClass="entr" presetSubtype="0" fill="hold" nodeType="withEffect">
                                  <p:stCondLst>
                                    <p:cond delay="0"/>
                                  </p:stCondLst>
                                  <p:childTnLst>
                                    <p:set>
                                      <p:cBhvr>
                                        <p:cTn id="64" dur="1" fill="hold">
                                          <p:stCondLst>
                                            <p:cond delay="0"/>
                                          </p:stCondLst>
                                        </p:cTn>
                                        <p:tgtEl>
                                          <p:spTgt spid="194"/>
                                        </p:tgtEl>
                                        <p:attrNameLst>
                                          <p:attrName>style.visibility</p:attrName>
                                        </p:attrNameLst>
                                      </p:cBhvr>
                                      <p:to>
                                        <p:strVal val="visible"/>
                                      </p:to>
                                    </p:set>
                                    <p:anim calcmode="lin" valueType="num">
                                      <p:cBhvr>
                                        <p:cTn id="65" dur="750" fill="hold"/>
                                        <p:tgtEl>
                                          <p:spTgt spid="194"/>
                                        </p:tgtEl>
                                        <p:attrNameLst>
                                          <p:attrName>ppt_w</p:attrName>
                                        </p:attrNameLst>
                                      </p:cBhvr>
                                      <p:tavLst>
                                        <p:tav tm="0">
                                          <p:val>
                                            <p:fltVal val="0"/>
                                          </p:val>
                                        </p:tav>
                                        <p:tav tm="100000">
                                          <p:val>
                                            <p:strVal val="#ppt_w"/>
                                          </p:val>
                                        </p:tav>
                                      </p:tavLst>
                                    </p:anim>
                                    <p:anim calcmode="lin" valueType="num">
                                      <p:cBhvr>
                                        <p:cTn id="66" dur="750" fill="hold"/>
                                        <p:tgtEl>
                                          <p:spTgt spid="194"/>
                                        </p:tgtEl>
                                        <p:attrNameLst>
                                          <p:attrName>ppt_h</p:attrName>
                                        </p:attrNameLst>
                                      </p:cBhvr>
                                      <p:tavLst>
                                        <p:tav tm="0">
                                          <p:val>
                                            <p:fltVal val="0"/>
                                          </p:val>
                                        </p:tav>
                                        <p:tav tm="100000">
                                          <p:val>
                                            <p:strVal val="#ppt_h"/>
                                          </p:val>
                                        </p:tav>
                                      </p:tavLst>
                                    </p:anim>
                                    <p:anim calcmode="lin" valueType="num">
                                      <p:cBhvr>
                                        <p:cTn id="67" dur="750" fill="hold"/>
                                        <p:tgtEl>
                                          <p:spTgt spid="194"/>
                                        </p:tgtEl>
                                        <p:attrNameLst>
                                          <p:attrName>style.rotation</p:attrName>
                                        </p:attrNameLst>
                                      </p:cBhvr>
                                      <p:tavLst>
                                        <p:tav tm="0">
                                          <p:val>
                                            <p:fltVal val="90"/>
                                          </p:val>
                                        </p:tav>
                                        <p:tav tm="100000">
                                          <p:val>
                                            <p:fltVal val="0"/>
                                          </p:val>
                                        </p:tav>
                                      </p:tavLst>
                                    </p:anim>
                                    <p:animEffect transition="in" filter="fade">
                                      <p:cBhvr>
                                        <p:cTn id="68" dur="750"/>
                                        <p:tgtEl>
                                          <p:spTgt spid="194"/>
                                        </p:tgtEl>
                                      </p:cBhvr>
                                    </p:animEffect>
                                  </p:childTnLst>
                                </p:cTn>
                              </p:par>
                              <p:par>
                                <p:cTn id="69" presetID="31" presetClass="entr" presetSubtype="0" fill="hold" nodeType="withEffect">
                                  <p:stCondLst>
                                    <p:cond delay="0"/>
                                  </p:stCondLst>
                                  <p:childTnLst>
                                    <p:set>
                                      <p:cBhvr>
                                        <p:cTn id="70" dur="1" fill="hold">
                                          <p:stCondLst>
                                            <p:cond delay="0"/>
                                          </p:stCondLst>
                                        </p:cTn>
                                        <p:tgtEl>
                                          <p:spTgt spid="191"/>
                                        </p:tgtEl>
                                        <p:attrNameLst>
                                          <p:attrName>style.visibility</p:attrName>
                                        </p:attrNameLst>
                                      </p:cBhvr>
                                      <p:to>
                                        <p:strVal val="visible"/>
                                      </p:to>
                                    </p:set>
                                    <p:anim calcmode="lin" valueType="num">
                                      <p:cBhvr>
                                        <p:cTn id="71" dur="750" fill="hold"/>
                                        <p:tgtEl>
                                          <p:spTgt spid="191"/>
                                        </p:tgtEl>
                                        <p:attrNameLst>
                                          <p:attrName>ppt_w</p:attrName>
                                        </p:attrNameLst>
                                      </p:cBhvr>
                                      <p:tavLst>
                                        <p:tav tm="0">
                                          <p:val>
                                            <p:fltVal val="0"/>
                                          </p:val>
                                        </p:tav>
                                        <p:tav tm="100000">
                                          <p:val>
                                            <p:strVal val="#ppt_w"/>
                                          </p:val>
                                        </p:tav>
                                      </p:tavLst>
                                    </p:anim>
                                    <p:anim calcmode="lin" valueType="num">
                                      <p:cBhvr>
                                        <p:cTn id="72" dur="750" fill="hold"/>
                                        <p:tgtEl>
                                          <p:spTgt spid="191"/>
                                        </p:tgtEl>
                                        <p:attrNameLst>
                                          <p:attrName>ppt_h</p:attrName>
                                        </p:attrNameLst>
                                      </p:cBhvr>
                                      <p:tavLst>
                                        <p:tav tm="0">
                                          <p:val>
                                            <p:fltVal val="0"/>
                                          </p:val>
                                        </p:tav>
                                        <p:tav tm="100000">
                                          <p:val>
                                            <p:strVal val="#ppt_h"/>
                                          </p:val>
                                        </p:tav>
                                      </p:tavLst>
                                    </p:anim>
                                    <p:anim calcmode="lin" valueType="num">
                                      <p:cBhvr>
                                        <p:cTn id="73" dur="750" fill="hold"/>
                                        <p:tgtEl>
                                          <p:spTgt spid="191"/>
                                        </p:tgtEl>
                                        <p:attrNameLst>
                                          <p:attrName>style.rotation</p:attrName>
                                        </p:attrNameLst>
                                      </p:cBhvr>
                                      <p:tavLst>
                                        <p:tav tm="0">
                                          <p:val>
                                            <p:fltVal val="90"/>
                                          </p:val>
                                        </p:tav>
                                        <p:tav tm="100000">
                                          <p:val>
                                            <p:fltVal val="0"/>
                                          </p:val>
                                        </p:tav>
                                      </p:tavLst>
                                    </p:anim>
                                    <p:animEffect transition="in" filter="fade">
                                      <p:cBhvr>
                                        <p:cTn id="74" dur="750"/>
                                        <p:tgtEl>
                                          <p:spTgt spid="191"/>
                                        </p:tgtEl>
                                      </p:cBhvr>
                                    </p:animEffect>
                                  </p:childTnLst>
                                </p:cTn>
                              </p:par>
                              <p:par>
                                <p:cTn id="75" presetID="31" presetClass="entr" presetSubtype="0" fill="hold" nodeType="withEffect">
                                  <p:stCondLst>
                                    <p:cond delay="0"/>
                                  </p:stCondLst>
                                  <p:childTnLst>
                                    <p:set>
                                      <p:cBhvr>
                                        <p:cTn id="76" dur="1" fill="hold">
                                          <p:stCondLst>
                                            <p:cond delay="0"/>
                                          </p:stCondLst>
                                        </p:cTn>
                                        <p:tgtEl>
                                          <p:spTgt spid="196"/>
                                        </p:tgtEl>
                                        <p:attrNameLst>
                                          <p:attrName>style.visibility</p:attrName>
                                        </p:attrNameLst>
                                      </p:cBhvr>
                                      <p:to>
                                        <p:strVal val="visible"/>
                                      </p:to>
                                    </p:set>
                                    <p:anim calcmode="lin" valueType="num">
                                      <p:cBhvr>
                                        <p:cTn id="77" dur="1000" fill="hold"/>
                                        <p:tgtEl>
                                          <p:spTgt spid="196"/>
                                        </p:tgtEl>
                                        <p:attrNameLst>
                                          <p:attrName>ppt_w</p:attrName>
                                        </p:attrNameLst>
                                      </p:cBhvr>
                                      <p:tavLst>
                                        <p:tav tm="0">
                                          <p:val>
                                            <p:fltVal val="0"/>
                                          </p:val>
                                        </p:tav>
                                        <p:tav tm="100000">
                                          <p:val>
                                            <p:strVal val="#ppt_w"/>
                                          </p:val>
                                        </p:tav>
                                      </p:tavLst>
                                    </p:anim>
                                    <p:anim calcmode="lin" valueType="num">
                                      <p:cBhvr>
                                        <p:cTn id="78" dur="1000" fill="hold"/>
                                        <p:tgtEl>
                                          <p:spTgt spid="196"/>
                                        </p:tgtEl>
                                        <p:attrNameLst>
                                          <p:attrName>ppt_h</p:attrName>
                                        </p:attrNameLst>
                                      </p:cBhvr>
                                      <p:tavLst>
                                        <p:tav tm="0">
                                          <p:val>
                                            <p:fltVal val="0"/>
                                          </p:val>
                                        </p:tav>
                                        <p:tav tm="100000">
                                          <p:val>
                                            <p:strVal val="#ppt_h"/>
                                          </p:val>
                                        </p:tav>
                                      </p:tavLst>
                                    </p:anim>
                                    <p:anim calcmode="lin" valueType="num">
                                      <p:cBhvr>
                                        <p:cTn id="79" dur="1000" fill="hold"/>
                                        <p:tgtEl>
                                          <p:spTgt spid="196"/>
                                        </p:tgtEl>
                                        <p:attrNameLst>
                                          <p:attrName>style.rotation</p:attrName>
                                        </p:attrNameLst>
                                      </p:cBhvr>
                                      <p:tavLst>
                                        <p:tav tm="0">
                                          <p:val>
                                            <p:fltVal val="90"/>
                                          </p:val>
                                        </p:tav>
                                        <p:tav tm="100000">
                                          <p:val>
                                            <p:fltVal val="0"/>
                                          </p:val>
                                        </p:tav>
                                      </p:tavLst>
                                    </p:anim>
                                    <p:animEffect transition="in" filter="fade">
                                      <p:cBhvr>
                                        <p:cTn id="80" dur="1000"/>
                                        <p:tgtEl>
                                          <p:spTgt spid="1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Sylinder 6"/>
          <p:cNvSpPr txBox="1"/>
          <p:nvPr/>
        </p:nvSpPr>
        <p:spPr>
          <a:xfrm>
            <a:off x="815414" y="260648"/>
            <a:ext cx="9697077" cy="584775"/>
          </a:xfrm>
          <a:prstGeom prst="rect">
            <a:avLst/>
          </a:prstGeom>
          <a:solidFill>
            <a:schemeClr val="bg1"/>
          </a:solidFill>
        </p:spPr>
        <p:txBody>
          <a:bodyPr wrap="square" rtlCol="0">
            <a:spAutoFit/>
          </a:bodyPr>
          <a:lstStyle/>
          <a:p>
            <a:r>
              <a:rPr lang="nb-NO" sz="3200">
                <a:latin typeface="+mj-lt"/>
              </a:rPr>
              <a:t>Månedlig utvikling</a:t>
            </a:r>
          </a:p>
        </p:txBody>
      </p:sp>
      <p:graphicFrame>
        <p:nvGraphicFramePr>
          <p:cNvPr id="2" name="Diagram 1">
            <a:extLst>
              <a:ext uri="{FF2B5EF4-FFF2-40B4-BE49-F238E27FC236}">
                <a16:creationId xmlns:a16="http://schemas.microsoft.com/office/drawing/2014/main" id="{8A2273A3-64F3-B194-D80E-9C2806B30B8A}"/>
              </a:ext>
            </a:extLst>
          </p:cNvPr>
          <p:cNvGraphicFramePr/>
          <p:nvPr>
            <p:extLst>
              <p:ext uri="{D42A27DB-BD31-4B8C-83A1-F6EECF244321}">
                <p14:modId xmlns:p14="http://schemas.microsoft.com/office/powerpoint/2010/main" val="534945485"/>
              </p:ext>
            </p:extLst>
          </p:nvPr>
        </p:nvGraphicFramePr>
        <p:xfrm>
          <a:off x="379829" y="1580512"/>
          <a:ext cx="11085340" cy="398818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50599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E8eMflXtuwKi.B7j.WT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SoBpn2w6uwfjfFoTwAxNg"/>
</p:tagLst>
</file>

<file path=ppt/theme/theme1.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gendefinert 1">
      <a:majorFont>
        <a:latin typeface="Microsoft JhengHei UI Light"/>
        <a:ea typeface=""/>
        <a:cs typeface=""/>
      </a:majorFont>
      <a:minorFont>
        <a:latin typeface="Microsoft JhengHei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4" id="{AD6D41E2-C372-4422-94FD-8341514214B2}" vid="{7AE44AE2-E7CB-44D2-B45E-570A55D5C377}"/>
    </a:ext>
  </a:extLst>
</a:theme>
</file>

<file path=ppt/theme/theme2.xml><?xml version="1.0" encoding="utf-8"?>
<a:theme xmlns:a="http://schemas.openxmlformats.org/drawingml/2006/main" name="Norsk helsenett">
  <a:themeElements>
    <a:clrScheme name="Norsk Helsenett Mørk">
      <a:dk1>
        <a:srgbClr val="000000"/>
      </a:dk1>
      <a:lt1>
        <a:srgbClr val="FFFFFF"/>
      </a:lt1>
      <a:dk2>
        <a:srgbClr val="015945"/>
      </a:dk2>
      <a:lt2>
        <a:srgbClr val="7BEFB2"/>
      </a:lt2>
      <a:accent1>
        <a:srgbClr val="02A67F"/>
      </a:accent1>
      <a:accent2>
        <a:srgbClr val="C4F2DA"/>
      </a:accent2>
      <a:accent3>
        <a:srgbClr val="7BEFB2"/>
      </a:accent3>
      <a:accent4>
        <a:srgbClr val="24735F"/>
      </a:accent4>
      <a:accent5>
        <a:srgbClr val="C4F1DA"/>
      </a:accent5>
      <a:accent6>
        <a:srgbClr val="E857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l">
          <a:defRPr sz="40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tandard powerpointmal.potx" id="{2D6039A3-57E7-40DF-9196-CBD19C3C02AF}" vid="{BA0D32BD-01C3-41B8-917D-93B1327875A7}"/>
    </a:ext>
  </a:extLst>
</a:theme>
</file>

<file path=ppt/theme/theme3.xml><?xml version="1.0" encoding="utf-8"?>
<a:theme xmlns:a="http://schemas.openxmlformats.org/drawingml/2006/main" name="Norsk helsenett (lys bakgrunn)">
  <a:themeElements>
    <a:clrScheme name="Norsk Helsenett Lys">
      <a:dk1>
        <a:srgbClr val="000000"/>
      </a:dk1>
      <a:lt1>
        <a:srgbClr val="FFFFFF"/>
      </a:lt1>
      <a:dk2>
        <a:srgbClr val="015945"/>
      </a:dk2>
      <a:lt2>
        <a:srgbClr val="7BEFB2"/>
      </a:lt2>
      <a:accent1>
        <a:srgbClr val="02A67F"/>
      </a:accent1>
      <a:accent2>
        <a:srgbClr val="015945"/>
      </a:accent2>
      <a:accent3>
        <a:srgbClr val="7BEFB2"/>
      </a:accent3>
      <a:accent4>
        <a:srgbClr val="39806F"/>
      </a:accent4>
      <a:accent5>
        <a:srgbClr val="C4F2DA"/>
      </a:accent5>
      <a:accent6>
        <a:srgbClr val="E85700"/>
      </a:accent6>
      <a:hlink>
        <a:srgbClr val="0563C1"/>
      </a:hlink>
      <a:folHlink>
        <a:srgbClr val="954F72"/>
      </a:folHlink>
    </a:clrScheme>
    <a:fontScheme name="Custom 75">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l">
          <a:defRPr sz="4000"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tandard powerpointmal.potx" id="{2D6039A3-57E7-40DF-9196-CBD19C3C02AF}" vid="{36B4F28E-8FE2-4836-8E8A-778F812A8F47}"/>
    </a:ext>
  </a:ext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2f35c0e-706e-430e-adea-1a35505ea03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B618AD080ECBA44BEF7EFB648637A4F" ma:contentTypeVersion="15" ma:contentTypeDescription="Create a new document." ma:contentTypeScope="" ma:versionID="9d6de0951785513c36cd0cb7a67a4e0f">
  <xsd:schema xmlns:xsd="http://www.w3.org/2001/XMLSchema" xmlns:xs="http://www.w3.org/2001/XMLSchema" xmlns:p="http://schemas.microsoft.com/office/2006/metadata/properties" xmlns:ns3="42f35c0e-706e-430e-adea-1a35505ea03d" xmlns:ns4="77295036-c67a-4a7e-a6f5-b0c819e6c2c0" targetNamespace="http://schemas.microsoft.com/office/2006/metadata/properties" ma:root="true" ma:fieldsID="581c6966bc6cd5fc3a98b335961f0368" ns3:_="" ns4:_="">
    <xsd:import namespace="42f35c0e-706e-430e-adea-1a35505ea03d"/>
    <xsd:import namespace="77295036-c67a-4a7e-a6f5-b0c819e6c2c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LengthInSeconds" minOccurs="0"/>
                <xsd:element ref="ns3:MediaServiceDateTaken" minOccurs="0"/>
                <xsd:element ref="ns3:MediaServiceOCR" minOccurs="0"/>
                <xsd:element ref="ns3:MediaServiceGenerationTime" minOccurs="0"/>
                <xsd:element ref="ns3:MediaServiceEventHashCode"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f35c0e-706e-430e-adea-1a35505ea0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DateTaken" ma:index="12" nillable="true" ma:displayName="MediaServiceDateTaken" ma:hidden="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7295036-c67a-4a7e-a6f5-b0c819e6c2c0"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E8CA970-F595-4132-8B56-03374A6CC884}">
  <ds:schemaRefs>
    <ds:schemaRef ds:uri="http://schemas.microsoft.com/sharepoint/v3/contenttype/forms"/>
  </ds:schemaRefs>
</ds:datastoreItem>
</file>

<file path=customXml/itemProps2.xml><?xml version="1.0" encoding="utf-8"?>
<ds:datastoreItem xmlns:ds="http://schemas.openxmlformats.org/officeDocument/2006/customXml" ds:itemID="{9B9AFB09-10C6-4553-ADAD-C4084855F837}">
  <ds:schemaRefs>
    <ds:schemaRef ds:uri="http://schemas.microsoft.com/office/2006/metadata/properties"/>
    <ds:schemaRef ds:uri="http://purl.org/dc/terms/"/>
    <ds:schemaRef ds:uri="http://purl.org/dc/elements/1.1/"/>
    <ds:schemaRef ds:uri="http://www.w3.org/XML/1998/namespace"/>
    <ds:schemaRef ds:uri="42f35c0e-706e-430e-adea-1a35505ea03d"/>
    <ds:schemaRef ds:uri="http://purl.org/dc/dcmitype/"/>
    <ds:schemaRef ds:uri="http://schemas.microsoft.com/office/2006/documentManagement/types"/>
    <ds:schemaRef ds:uri="77295036-c67a-4a7e-a6f5-b0c819e6c2c0"/>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F583B6E4-AD11-4C2D-A8D4-4DC4EF065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2f35c0e-706e-430e-adea-1a35505ea03d"/>
    <ds:schemaRef ds:uri="77295036-c67a-4a7e-a6f5-b0c819e6c2c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NSP-MAL-1</Template>
  <TotalTime>32161</TotalTime>
  <Words>875</Words>
  <Application>Microsoft Office PowerPoint</Application>
  <PresentationFormat>Widescreen</PresentationFormat>
  <Paragraphs>134</Paragraphs>
  <Slides>14</Slides>
  <Notes>9</Notes>
  <HiddenSlides>0</HiddenSlides>
  <MMClips>0</MMClips>
  <ScaleCrop>false</ScaleCrop>
  <HeadingPairs>
    <vt:vector size="8" baseType="variant">
      <vt:variant>
        <vt:lpstr>Brukte skrifter</vt:lpstr>
      </vt:variant>
      <vt:variant>
        <vt:i4>6</vt:i4>
      </vt:variant>
      <vt:variant>
        <vt:lpstr>Tema</vt:lpstr>
      </vt:variant>
      <vt:variant>
        <vt:i4>3</vt:i4>
      </vt:variant>
      <vt:variant>
        <vt:lpstr>Innebygde OLE-servere</vt:lpstr>
      </vt:variant>
      <vt:variant>
        <vt:i4>1</vt:i4>
      </vt:variant>
      <vt:variant>
        <vt:lpstr>Lysbildetitler</vt:lpstr>
      </vt:variant>
      <vt:variant>
        <vt:i4>14</vt:i4>
      </vt:variant>
    </vt:vector>
  </HeadingPairs>
  <TitlesOfParts>
    <vt:vector size="24" baseType="lpstr">
      <vt:lpstr>Microsoft JhengHei UI</vt:lpstr>
      <vt:lpstr>Microsoft JhengHei UI Light</vt:lpstr>
      <vt:lpstr>Microsoft YaHei UI</vt:lpstr>
      <vt:lpstr>Microsoft YaHei UI Light</vt:lpstr>
      <vt:lpstr>Arial</vt:lpstr>
      <vt:lpstr>Calibri</vt:lpstr>
      <vt:lpstr>1_Office-tema</vt:lpstr>
      <vt:lpstr>Norsk helsenett</vt:lpstr>
      <vt:lpstr>Norsk helsenett (lys bakgrunn)</vt:lpstr>
      <vt:lpstr>think-cell Slide</vt:lpstr>
      <vt:lpstr>Hva er FNSP?</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PowerPoint-presentasjon</vt:lpstr>
      <vt:lpstr>Åpne data fra FNSP</vt:lpstr>
      <vt:lpstr>PowerPoint-presentasjon</vt:lpstr>
      <vt:lpstr>PowerPoint-presentasjon</vt:lpstr>
    </vt:vector>
  </TitlesOfParts>
  <Company>Helse Ve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Stakkeland, Elisabeth</dc:creator>
  <cp:lastModifiedBy>Elisabeth Stakkeland</cp:lastModifiedBy>
  <cp:revision>36</cp:revision>
  <dcterms:created xsi:type="dcterms:W3CDTF">2022-02-02T09:50:06Z</dcterms:created>
  <dcterms:modified xsi:type="dcterms:W3CDTF">2024-10-24T08:3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B618AD080ECBA44BEF7EFB648637A4F</vt:lpwstr>
  </property>
</Properties>
</file>